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65" r:id="rId2"/>
  </p:sldIdLst>
  <p:sldSz cx="9144000" cy="6858000" type="screen4x3"/>
  <p:notesSz cx="7315200" cy="96012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448" userDrawn="1">
          <p15:clr>
            <a:srgbClr val="A4A3A4"/>
          </p15:clr>
        </p15:guide>
        <p15:guide id="11" orient="horz" pos="2160">
          <p15:clr>
            <a:srgbClr val="A4A3A4"/>
          </p15:clr>
        </p15:guide>
        <p15:guide id="12" orient="horz" pos="3363" userDrawn="1">
          <p15:clr>
            <a:srgbClr val="A4A3A4"/>
          </p15:clr>
        </p15:guide>
        <p15:guide id="13" orient="horz" pos="1392" userDrawn="1">
          <p15:clr>
            <a:srgbClr val="A4A3A4"/>
          </p15:clr>
        </p15:guide>
        <p15:guide id="14" pos="2640" userDrawn="1">
          <p15:clr>
            <a:srgbClr val="A4A3A4"/>
          </p15:clr>
        </p15:guide>
        <p15:guide id="15" pos="3216" userDrawn="1">
          <p15:clr>
            <a:srgbClr val="A4A3A4"/>
          </p15:clr>
        </p15:guide>
        <p15:guide id="16" pos="5568" userDrawn="1">
          <p15:clr>
            <a:srgbClr val="A4A3A4"/>
          </p15:clr>
        </p15:guide>
        <p15:guide id="17" orient="horz" pos="3301" userDrawn="1">
          <p15:clr>
            <a:srgbClr val="A4A3A4"/>
          </p15:clr>
        </p15:guide>
        <p15:guide id="18" orient="horz" pos="3528" userDrawn="1">
          <p15:clr>
            <a:srgbClr val="A4A3A4"/>
          </p15:clr>
        </p15:guide>
        <p15:guide id="19" orient="horz" pos="2760" userDrawn="1">
          <p15:clr>
            <a:srgbClr val="A4A3A4"/>
          </p15:clr>
        </p15:guide>
        <p15:guide id="20" orient="horz" pos="1320" userDrawn="1">
          <p15:clr>
            <a:srgbClr val="A4A3A4"/>
          </p15:clr>
        </p15:guide>
        <p15:guide id="21" orient="horz" pos="912" userDrawn="1">
          <p15:clr>
            <a:srgbClr val="A4A3A4"/>
          </p15:clr>
        </p15:guide>
        <p15:guide id="22" orient="horz" pos="15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6E6"/>
    <a:srgbClr val="D9D9D9"/>
    <a:srgbClr val="595959"/>
    <a:srgbClr val="86BC25"/>
    <a:srgbClr val="ED8B00"/>
    <a:srgbClr val="53565A"/>
    <a:srgbClr val="08DA71"/>
    <a:srgbClr val="77A721"/>
    <a:srgbClr val="79AA22"/>
    <a:srgbClr val="069C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053" autoAdjust="0"/>
  </p:normalViewPr>
  <p:slideViewPr>
    <p:cSldViewPr snapToGrid="0" showGuides="1">
      <p:cViewPr varScale="1">
        <p:scale>
          <a:sx n="69" d="100"/>
          <a:sy n="69" d="100"/>
        </p:scale>
        <p:origin x="1224" y="44"/>
      </p:cViewPr>
      <p:guideLst>
        <p:guide pos="448"/>
        <p:guide orient="horz" pos="2160"/>
        <p:guide orient="horz" pos="3363"/>
        <p:guide orient="horz" pos="1392"/>
        <p:guide pos="2640"/>
        <p:guide pos="3216"/>
        <p:guide pos="5568"/>
        <p:guide orient="horz" pos="3301"/>
        <p:guide orient="horz" pos="3528"/>
        <p:guide orient="horz" pos="2760"/>
        <p:guide orient="horz" pos="1320"/>
        <p:guide orient="horz" pos="912"/>
        <p:guide orient="horz" pos="158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2" d="100"/>
        <a:sy n="102" d="100"/>
      </p:scale>
      <p:origin x="0" y="-2828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6/15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6/1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758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65962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5467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60904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12933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5467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12933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816442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8" r:id="rId33"/>
    <p:sldLayoutId id="2147483751" r:id="rId34"/>
    <p:sldLayoutId id="2147483724" r:id="rId35"/>
    <p:sldLayoutId id="2147483725" r:id="rId36"/>
    <p:sldLayoutId id="2147483726" r:id="rId37"/>
    <p:sldLayoutId id="2147483727" r:id="rId38"/>
    <p:sldLayoutId id="2147483698" r:id="rId39"/>
    <p:sldLayoutId id="2147483752" r:id="rId40"/>
    <p:sldLayoutId id="2147483696" r:id="rId4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g-Ex Use Case: Process Flow</a:t>
            </a:r>
            <a:endParaRPr lang="en-GB" dirty="0"/>
          </a:p>
        </p:txBody>
      </p:sp>
      <p:grpSp>
        <p:nvGrpSpPr>
          <p:cNvPr id="35858" name="Group 35857"/>
          <p:cNvGrpSpPr/>
          <p:nvPr/>
        </p:nvGrpSpPr>
        <p:grpSpPr>
          <a:xfrm>
            <a:off x="293963" y="840985"/>
            <a:ext cx="8547773" cy="5815498"/>
            <a:chOff x="478683" y="739389"/>
            <a:chExt cx="8547773" cy="5815498"/>
          </a:xfrm>
        </p:grpSpPr>
        <p:sp>
          <p:nvSpPr>
            <p:cNvPr id="52" name="Freeform 272"/>
            <p:cNvSpPr>
              <a:spLocks noChangeAspect="1" noEditPoints="1"/>
            </p:cNvSpPr>
            <p:nvPr/>
          </p:nvSpPr>
          <p:spPr bwMode="auto">
            <a:xfrm>
              <a:off x="543335" y="2428950"/>
              <a:ext cx="1508760" cy="1508760"/>
            </a:xfrm>
            <a:custGeom>
              <a:avLst/>
              <a:gdLst>
                <a:gd name="T0" fmla="*/ 160 w 512"/>
                <a:gd name="T1" fmla="*/ 245 h 512"/>
                <a:gd name="T2" fmla="*/ 181 w 512"/>
                <a:gd name="T3" fmla="*/ 224 h 512"/>
                <a:gd name="T4" fmla="*/ 202 w 512"/>
                <a:gd name="T5" fmla="*/ 245 h 512"/>
                <a:gd name="T6" fmla="*/ 181 w 512"/>
                <a:gd name="T7" fmla="*/ 266 h 512"/>
                <a:gd name="T8" fmla="*/ 160 w 512"/>
                <a:gd name="T9" fmla="*/ 245 h 512"/>
                <a:gd name="T10" fmla="*/ 512 w 512"/>
                <a:gd name="T11" fmla="*/ 256 h 512"/>
                <a:gd name="T12" fmla="*/ 256 w 512"/>
                <a:gd name="T13" fmla="*/ 512 h 512"/>
                <a:gd name="T14" fmla="*/ 0 w 512"/>
                <a:gd name="T15" fmla="*/ 256 h 512"/>
                <a:gd name="T16" fmla="*/ 256 w 512"/>
                <a:gd name="T17" fmla="*/ 0 h 512"/>
                <a:gd name="T18" fmla="*/ 512 w 512"/>
                <a:gd name="T19" fmla="*/ 256 h 512"/>
                <a:gd name="T20" fmla="*/ 138 w 512"/>
                <a:gd name="T21" fmla="*/ 245 h 512"/>
                <a:gd name="T22" fmla="*/ 181 w 512"/>
                <a:gd name="T23" fmla="*/ 288 h 512"/>
                <a:gd name="T24" fmla="*/ 224 w 512"/>
                <a:gd name="T25" fmla="*/ 245 h 512"/>
                <a:gd name="T26" fmla="*/ 181 w 512"/>
                <a:gd name="T27" fmla="*/ 202 h 512"/>
                <a:gd name="T28" fmla="*/ 138 w 512"/>
                <a:gd name="T29" fmla="*/ 245 h 512"/>
                <a:gd name="T30" fmla="*/ 256 w 512"/>
                <a:gd name="T31" fmla="*/ 320 h 512"/>
                <a:gd name="T32" fmla="*/ 245 w 512"/>
                <a:gd name="T33" fmla="*/ 309 h 512"/>
                <a:gd name="T34" fmla="*/ 117 w 512"/>
                <a:gd name="T35" fmla="*/ 309 h 512"/>
                <a:gd name="T36" fmla="*/ 106 w 512"/>
                <a:gd name="T37" fmla="*/ 320 h 512"/>
                <a:gd name="T38" fmla="*/ 106 w 512"/>
                <a:gd name="T39" fmla="*/ 352 h 512"/>
                <a:gd name="T40" fmla="*/ 117 w 512"/>
                <a:gd name="T41" fmla="*/ 362 h 512"/>
                <a:gd name="T42" fmla="*/ 128 w 512"/>
                <a:gd name="T43" fmla="*/ 352 h 512"/>
                <a:gd name="T44" fmla="*/ 128 w 512"/>
                <a:gd name="T45" fmla="*/ 330 h 512"/>
                <a:gd name="T46" fmla="*/ 234 w 512"/>
                <a:gd name="T47" fmla="*/ 330 h 512"/>
                <a:gd name="T48" fmla="*/ 234 w 512"/>
                <a:gd name="T49" fmla="*/ 352 h 512"/>
                <a:gd name="T50" fmla="*/ 245 w 512"/>
                <a:gd name="T51" fmla="*/ 362 h 512"/>
                <a:gd name="T52" fmla="*/ 256 w 512"/>
                <a:gd name="T53" fmla="*/ 352 h 512"/>
                <a:gd name="T54" fmla="*/ 256 w 512"/>
                <a:gd name="T55" fmla="*/ 320 h 512"/>
                <a:gd name="T56" fmla="*/ 288 w 512"/>
                <a:gd name="T57" fmla="*/ 244 h 512"/>
                <a:gd name="T58" fmla="*/ 277 w 512"/>
                <a:gd name="T59" fmla="*/ 215 h 512"/>
                <a:gd name="T60" fmla="*/ 262 w 512"/>
                <a:gd name="T61" fmla="*/ 215 h 512"/>
                <a:gd name="T62" fmla="*/ 261 w 512"/>
                <a:gd name="T63" fmla="*/ 230 h 512"/>
                <a:gd name="T64" fmla="*/ 267 w 512"/>
                <a:gd name="T65" fmla="*/ 244 h 512"/>
                <a:gd name="T66" fmla="*/ 261 w 512"/>
                <a:gd name="T67" fmla="*/ 258 h 512"/>
                <a:gd name="T68" fmla="*/ 262 w 512"/>
                <a:gd name="T69" fmla="*/ 274 h 512"/>
                <a:gd name="T70" fmla="*/ 269 w 512"/>
                <a:gd name="T71" fmla="*/ 276 h 512"/>
                <a:gd name="T72" fmla="*/ 277 w 512"/>
                <a:gd name="T73" fmla="*/ 273 h 512"/>
                <a:gd name="T74" fmla="*/ 288 w 512"/>
                <a:gd name="T75" fmla="*/ 244 h 512"/>
                <a:gd name="T76" fmla="*/ 345 w 512"/>
                <a:gd name="T77" fmla="*/ 244 h 512"/>
                <a:gd name="T78" fmla="*/ 310 w 512"/>
                <a:gd name="T79" fmla="*/ 172 h 512"/>
                <a:gd name="T80" fmla="*/ 295 w 512"/>
                <a:gd name="T81" fmla="*/ 173 h 512"/>
                <a:gd name="T82" fmla="*/ 296 w 512"/>
                <a:gd name="T83" fmla="*/ 188 h 512"/>
                <a:gd name="T84" fmla="*/ 323 w 512"/>
                <a:gd name="T85" fmla="*/ 244 h 512"/>
                <a:gd name="T86" fmla="*/ 296 w 512"/>
                <a:gd name="T87" fmla="*/ 301 h 512"/>
                <a:gd name="T88" fmla="*/ 295 w 512"/>
                <a:gd name="T89" fmla="*/ 316 h 512"/>
                <a:gd name="T90" fmla="*/ 303 w 512"/>
                <a:gd name="T91" fmla="*/ 319 h 512"/>
                <a:gd name="T92" fmla="*/ 310 w 512"/>
                <a:gd name="T93" fmla="*/ 317 h 512"/>
                <a:gd name="T94" fmla="*/ 345 w 512"/>
                <a:gd name="T95" fmla="*/ 244 h 512"/>
                <a:gd name="T96" fmla="*/ 401 w 512"/>
                <a:gd name="T97" fmla="*/ 244 h 512"/>
                <a:gd name="T98" fmla="*/ 344 w 512"/>
                <a:gd name="T99" fmla="*/ 128 h 512"/>
                <a:gd name="T100" fmla="*/ 329 w 512"/>
                <a:gd name="T101" fmla="*/ 130 h 512"/>
                <a:gd name="T102" fmla="*/ 331 w 512"/>
                <a:gd name="T103" fmla="*/ 145 h 512"/>
                <a:gd name="T104" fmla="*/ 380 w 512"/>
                <a:gd name="T105" fmla="*/ 244 h 512"/>
                <a:gd name="T106" fmla="*/ 331 w 512"/>
                <a:gd name="T107" fmla="*/ 343 h 512"/>
                <a:gd name="T108" fmla="*/ 329 w 512"/>
                <a:gd name="T109" fmla="*/ 358 h 512"/>
                <a:gd name="T110" fmla="*/ 337 w 512"/>
                <a:gd name="T111" fmla="*/ 362 h 512"/>
                <a:gd name="T112" fmla="*/ 344 w 512"/>
                <a:gd name="T113" fmla="*/ 360 h 512"/>
                <a:gd name="T114" fmla="*/ 401 w 512"/>
                <a:gd name="T115" fmla="*/ 24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60" y="245"/>
                  </a:moveTo>
                  <a:cubicBezTo>
                    <a:pt x="160" y="233"/>
                    <a:pt x="169" y="224"/>
                    <a:pt x="181" y="224"/>
                  </a:cubicBezTo>
                  <a:cubicBezTo>
                    <a:pt x="193" y="224"/>
                    <a:pt x="202" y="233"/>
                    <a:pt x="202" y="245"/>
                  </a:cubicBezTo>
                  <a:cubicBezTo>
                    <a:pt x="202" y="257"/>
                    <a:pt x="193" y="266"/>
                    <a:pt x="181" y="266"/>
                  </a:cubicBezTo>
                  <a:cubicBezTo>
                    <a:pt x="169" y="266"/>
                    <a:pt x="160" y="257"/>
                    <a:pt x="160" y="245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138" y="245"/>
                  </a:moveTo>
                  <a:cubicBezTo>
                    <a:pt x="138" y="269"/>
                    <a:pt x="157" y="288"/>
                    <a:pt x="181" y="288"/>
                  </a:cubicBezTo>
                  <a:cubicBezTo>
                    <a:pt x="205" y="288"/>
                    <a:pt x="224" y="269"/>
                    <a:pt x="224" y="245"/>
                  </a:cubicBezTo>
                  <a:cubicBezTo>
                    <a:pt x="224" y="221"/>
                    <a:pt x="205" y="202"/>
                    <a:pt x="181" y="202"/>
                  </a:cubicBezTo>
                  <a:cubicBezTo>
                    <a:pt x="157" y="202"/>
                    <a:pt x="138" y="221"/>
                    <a:pt x="138" y="245"/>
                  </a:cubicBezTo>
                  <a:close/>
                  <a:moveTo>
                    <a:pt x="256" y="320"/>
                  </a:moveTo>
                  <a:cubicBezTo>
                    <a:pt x="256" y="314"/>
                    <a:pt x="251" y="309"/>
                    <a:pt x="245" y="309"/>
                  </a:cubicBezTo>
                  <a:cubicBezTo>
                    <a:pt x="117" y="309"/>
                    <a:pt x="117" y="309"/>
                    <a:pt x="117" y="309"/>
                  </a:cubicBezTo>
                  <a:cubicBezTo>
                    <a:pt x="111" y="309"/>
                    <a:pt x="106" y="314"/>
                    <a:pt x="106" y="320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6" y="358"/>
                    <a:pt x="111" y="362"/>
                    <a:pt x="117" y="362"/>
                  </a:cubicBezTo>
                  <a:cubicBezTo>
                    <a:pt x="123" y="362"/>
                    <a:pt x="128" y="358"/>
                    <a:pt x="128" y="352"/>
                  </a:cubicBezTo>
                  <a:cubicBezTo>
                    <a:pt x="128" y="330"/>
                    <a:pt x="128" y="330"/>
                    <a:pt x="128" y="330"/>
                  </a:cubicBezTo>
                  <a:cubicBezTo>
                    <a:pt x="234" y="330"/>
                    <a:pt x="234" y="330"/>
                    <a:pt x="234" y="330"/>
                  </a:cubicBezTo>
                  <a:cubicBezTo>
                    <a:pt x="234" y="352"/>
                    <a:pt x="234" y="352"/>
                    <a:pt x="234" y="352"/>
                  </a:cubicBezTo>
                  <a:cubicBezTo>
                    <a:pt x="234" y="358"/>
                    <a:pt x="239" y="362"/>
                    <a:pt x="245" y="362"/>
                  </a:cubicBezTo>
                  <a:cubicBezTo>
                    <a:pt x="251" y="362"/>
                    <a:pt x="256" y="358"/>
                    <a:pt x="256" y="352"/>
                  </a:cubicBezTo>
                  <a:lnTo>
                    <a:pt x="256" y="320"/>
                  </a:lnTo>
                  <a:close/>
                  <a:moveTo>
                    <a:pt x="288" y="244"/>
                  </a:moveTo>
                  <a:cubicBezTo>
                    <a:pt x="288" y="234"/>
                    <a:pt x="284" y="223"/>
                    <a:pt x="277" y="215"/>
                  </a:cubicBezTo>
                  <a:cubicBezTo>
                    <a:pt x="273" y="211"/>
                    <a:pt x="266" y="211"/>
                    <a:pt x="262" y="215"/>
                  </a:cubicBezTo>
                  <a:cubicBezTo>
                    <a:pt x="257" y="219"/>
                    <a:pt x="257" y="226"/>
                    <a:pt x="261" y="230"/>
                  </a:cubicBezTo>
                  <a:cubicBezTo>
                    <a:pt x="265" y="234"/>
                    <a:pt x="267" y="239"/>
                    <a:pt x="267" y="244"/>
                  </a:cubicBezTo>
                  <a:cubicBezTo>
                    <a:pt x="267" y="249"/>
                    <a:pt x="265" y="255"/>
                    <a:pt x="261" y="258"/>
                  </a:cubicBezTo>
                  <a:cubicBezTo>
                    <a:pt x="257" y="263"/>
                    <a:pt x="257" y="269"/>
                    <a:pt x="262" y="274"/>
                  </a:cubicBezTo>
                  <a:cubicBezTo>
                    <a:pt x="264" y="275"/>
                    <a:pt x="266" y="276"/>
                    <a:pt x="269" y="276"/>
                  </a:cubicBezTo>
                  <a:cubicBezTo>
                    <a:pt x="272" y="276"/>
                    <a:pt x="275" y="275"/>
                    <a:pt x="277" y="273"/>
                  </a:cubicBezTo>
                  <a:cubicBezTo>
                    <a:pt x="284" y="265"/>
                    <a:pt x="288" y="255"/>
                    <a:pt x="288" y="244"/>
                  </a:cubicBezTo>
                  <a:close/>
                  <a:moveTo>
                    <a:pt x="345" y="244"/>
                  </a:moveTo>
                  <a:cubicBezTo>
                    <a:pt x="345" y="216"/>
                    <a:pt x="332" y="190"/>
                    <a:pt x="310" y="172"/>
                  </a:cubicBezTo>
                  <a:cubicBezTo>
                    <a:pt x="306" y="168"/>
                    <a:pt x="299" y="168"/>
                    <a:pt x="295" y="173"/>
                  </a:cubicBezTo>
                  <a:cubicBezTo>
                    <a:pt x="291" y="177"/>
                    <a:pt x="292" y="184"/>
                    <a:pt x="296" y="188"/>
                  </a:cubicBezTo>
                  <a:cubicBezTo>
                    <a:pt x="313" y="202"/>
                    <a:pt x="323" y="223"/>
                    <a:pt x="323" y="244"/>
                  </a:cubicBezTo>
                  <a:cubicBezTo>
                    <a:pt x="323" y="266"/>
                    <a:pt x="313" y="286"/>
                    <a:pt x="296" y="301"/>
                  </a:cubicBezTo>
                  <a:cubicBezTo>
                    <a:pt x="292" y="304"/>
                    <a:pt x="291" y="311"/>
                    <a:pt x="295" y="316"/>
                  </a:cubicBezTo>
                  <a:cubicBezTo>
                    <a:pt x="297" y="318"/>
                    <a:pt x="300" y="319"/>
                    <a:pt x="303" y="319"/>
                  </a:cubicBezTo>
                  <a:cubicBezTo>
                    <a:pt x="306" y="319"/>
                    <a:pt x="308" y="319"/>
                    <a:pt x="310" y="317"/>
                  </a:cubicBezTo>
                  <a:cubicBezTo>
                    <a:pt x="332" y="299"/>
                    <a:pt x="345" y="272"/>
                    <a:pt x="345" y="244"/>
                  </a:cubicBezTo>
                  <a:close/>
                  <a:moveTo>
                    <a:pt x="401" y="244"/>
                  </a:moveTo>
                  <a:cubicBezTo>
                    <a:pt x="401" y="199"/>
                    <a:pt x="380" y="157"/>
                    <a:pt x="344" y="128"/>
                  </a:cubicBezTo>
                  <a:cubicBezTo>
                    <a:pt x="339" y="125"/>
                    <a:pt x="333" y="126"/>
                    <a:pt x="329" y="130"/>
                  </a:cubicBezTo>
                  <a:cubicBezTo>
                    <a:pt x="325" y="135"/>
                    <a:pt x="326" y="142"/>
                    <a:pt x="331" y="145"/>
                  </a:cubicBezTo>
                  <a:cubicBezTo>
                    <a:pt x="362" y="170"/>
                    <a:pt x="380" y="206"/>
                    <a:pt x="380" y="244"/>
                  </a:cubicBezTo>
                  <a:cubicBezTo>
                    <a:pt x="380" y="283"/>
                    <a:pt x="362" y="319"/>
                    <a:pt x="331" y="343"/>
                  </a:cubicBezTo>
                  <a:cubicBezTo>
                    <a:pt x="326" y="347"/>
                    <a:pt x="325" y="354"/>
                    <a:pt x="329" y="358"/>
                  </a:cubicBezTo>
                  <a:cubicBezTo>
                    <a:pt x="331" y="361"/>
                    <a:pt x="334" y="362"/>
                    <a:pt x="337" y="362"/>
                  </a:cubicBezTo>
                  <a:cubicBezTo>
                    <a:pt x="340" y="362"/>
                    <a:pt x="342" y="362"/>
                    <a:pt x="344" y="360"/>
                  </a:cubicBezTo>
                  <a:cubicBezTo>
                    <a:pt x="380" y="331"/>
                    <a:pt x="401" y="289"/>
                    <a:pt x="401" y="24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346"/>
            <p:cNvSpPr>
              <a:spLocks noChangeAspect="1" noEditPoints="1"/>
            </p:cNvSpPr>
            <p:nvPr/>
          </p:nvSpPr>
          <p:spPr bwMode="auto">
            <a:xfrm>
              <a:off x="5143838" y="739389"/>
              <a:ext cx="1508760" cy="1508760"/>
            </a:xfrm>
            <a:custGeom>
              <a:avLst/>
              <a:gdLst>
                <a:gd name="T0" fmla="*/ 277 w 512"/>
                <a:gd name="T1" fmla="*/ 394 h 512"/>
                <a:gd name="T2" fmla="*/ 149 w 512"/>
                <a:gd name="T3" fmla="*/ 202 h 512"/>
                <a:gd name="T4" fmla="*/ 170 w 512"/>
                <a:gd name="T5" fmla="*/ 224 h 512"/>
                <a:gd name="T6" fmla="*/ 266 w 512"/>
                <a:gd name="T7" fmla="*/ 234 h 512"/>
                <a:gd name="T8" fmla="*/ 170 w 512"/>
                <a:gd name="T9" fmla="*/ 245 h 512"/>
                <a:gd name="T10" fmla="*/ 170 w 512"/>
                <a:gd name="T11" fmla="*/ 224 h 512"/>
                <a:gd name="T12" fmla="*/ 256 w 512"/>
                <a:gd name="T13" fmla="*/ 266 h 512"/>
                <a:gd name="T14" fmla="*/ 256 w 512"/>
                <a:gd name="T15" fmla="*/ 288 h 512"/>
                <a:gd name="T16" fmla="*/ 160 w 512"/>
                <a:gd name="T17" fmla="*/ 277 h 512"/>
                <a:gd name="T18" fmla="*/ 170 w 512"/>
                <a:gd name="T19" fmla="*/ 309 h 512"/>
                <a:gd name="T20" fmla="*/ 266 w 512"/>
                <a:gd name="T21" fmla="*/ 320 h 512"/>
                <a:gd name="T22" fmla="*/ 170 w 512"/>
                <a:gd name="T23" fmla="*/ 330 h 512"/>
                <a:gd name="T24" fmla="*/ 170 w 512"/>
                <a:gd name="T25" fmla="*/ 309 h 512"/>
                <a:gd name="T26" fmla="*/ 256 w 512"/>
                <a:gd name="T27" fmla="*/ 352 h 512"/>
                <a:gd name="T28" fmla="*/ 256 w 512"/>
                <a:gd name="T29" fmla="*/ 373 h 512"/>
                <a:gd name="T30" fmla="*/ 160 w 512"/>
                <a:gd name="T31" fmla="*/ 362 h 512"/>
                <a:gd name="T32" fmla="*/ 256 w 512"/>
                <a:gd name="T33" fmla="*/ 0 h 512"/>
                <a:gd name="T34" fmla="*/ 256 w 512"/>
                <a:gd name="T35" fmla="*/ 512 h 512"/>
                <a:gd name="T36" fmla="*/ 256 w 512"/>
                <a:gd name="T37" fmla="*/ 0 h 512"/>
                <a:gd name="T38" fmla="*/ 288 w 512"/>
                <a:gd name="T39" fmla="*/ 416 h 512"/>
                <a:gd name="T40" fmla="*/ 128 w 512"/>
                <a:gd name="T41" fmla="*/ 405 h 512"/>
                <a:gd name="T42" fmla="*/ 138 w 512"/>
                <a:gd name="T43" fmla="*/ 181 h 512"/>
                <a:gd name="T44" fmla="*/ 298 w 512"/>
                <a:gd name="T45" fmla="*/ 192 h 512"/>
                <a:gd name="T46" fmla="*/ 341 w 512"/>
                <a:gd name="T47" fmla="*/ 362 h 512"/>
                <a:gd name="T48" fmla="*/ 320 w 512"/>
                <a:gd name="T49" fmla="*/ 362 h 512"/>
                <a:gd name="T50" fmla="*/ 181 w 512"/>
                <a:gd name="T51" fmla="*/ 160 h 512"/>
                <a:gd name="T52" fmla="*/ 181 w 512"/>
                <a:gd name="T53" fmla="*/ 138 h 512"/>
                <a:gd name="T54" fmla="*/ 341 w 512"/>
                <a:gd name="T55" fmla="*/ 149 h 512"/>
                <a:gd name="T56" fmla="*/ 384 w 512"/>
                <a:gd name="T57" fmla="*/ 320 h 512"/>
                <a:gd name="T58" fmla="*/ 362 w 512"/>
                <a:gd name="T59" fmla="*/ 320 h 512"/>
                <a:gd name="T60" fmla="*/ 224 w 512"/>
                <a:gd name="T61" fmla="*/ 117 h 512"/>
                <a:gd name="T62" fmla="*/ 224 w 512"/>
                <a:gd name="T63" fmla="*/ 96 h 512"/>
                <a:gd name="T64" fmla="*/ 384 w 512"/>
                <a:gd name="T65" fmla="*/ 10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12" h="512">
                  <a:moveTo>
                    <a:pt x="149" y="394"/>
                  </a:moveTo>
                  <a:cubicBezTo>
                    <a:pt x="277" y="394"/>
                    <a:pt x="277" y="394"/>
                    <a:pt x="277" y="394"/>
                  </a:cubicBezTo>
                  <a:cubicBezTo>
                    <a:pt x="277" y="202"/>
                    <a:pt x="277" y="202"/>
                    <a:pt x="277" y="202"/>
                  </a:cubicBezTo>
                  <a:cubicBezTo>
                    <a:pt x="149" y="202"/>
                    <a:pt x="149" y="202"/>
                    <a:pt x="149" y="202"/>
                  </a:cubicBezTo>
                  <a:lnTo>
                    <a:pt x="149" y="394"/>
                  </a:lnTo>
                  <a:close/>
                  <a:moveTo>
                    <a:pt x="170" y="224"/>
                  </a:moveTo>
                  <a:cubicBezTo>
                    <a:pt x="256" y="224"/>
                    <a:pt x="256" y="224"/>
                    <a:pt x="256" y="224"/>
                  </a:cubicBezTo>
                  <a:cubicBezTo>
                    <a:pt x="262" y="224"/>
                    <a:pt x="266" y="228"/>
                    <a:pt x="266" y="234"/>
                  </a:cubicBezTo>
                  <a:cubicBezTo>
                    <a:pt x="266" y="240"/>
                    <a:pt x="262" y="245"/>
                    <a:pt x="256" y="245"/>
                  </a:cubicBezTo>
                  <a:cubicBezTo>
                    <a:pt x="170" y="245"/>
                    <a:pt x="170" y="245"/>
                    <a:pt x="170" y="245"/>
                  </a:cubicBezTo>
                  <a:cubicBezTo>
                    <a:pt x="164" y="245"/>
                    <a:pt x="160" y="240"/>
                    <a:pt x="160" y="234"/>
                  </a:cubicBezTo>
                  <a:cubicBezTo>
                    <a:pt x="160" y="228"/>
                    <a:pt x="164" y="224"/>
                    <a:pt x="170" y="224"/>
                  </a:cubicBezTo>
                  <a:close/>
                  <a:moveTo>
                    <a:pt x="170" y="266"/>
                  </a:moveTo>
                  <a:cubicBezTo>
                    <a:pt x="256" y="266"/>
                    <a:pt x="256" y="266"/>
                    <a:pt x="256" y="266"/>
                  </a:cubicBezTo>
                  <a:cubicBezTo>
                    <a:pt x="262" y="266"/>
                    <a:pt x="266" y="271"/>
                    <a:pt x="266" y="277"/>
                  </a:cubicBezTo>
                  <a:cubicBezTo>
                    <a:pt x="266" y="283"/>
                    <a:pt x="262" y="288"/>
                    <a:pt x="256" y="288"/>
                  </a:cubicBezTo>
                  <a:cubicBezTo>
                    <a:pt x="170" y="288"/>
                    <a:pt x="170" y="288"/>
                    <a:pt x="170" y="288"/>
                  </a:cubicBezTo>
                  <a:cubicBezTo>
                    <a:pt x="164" y="288"/>
                    <a:pt x="160" y="283"/>
                    <a:pt x="160" y="277"/>
                  </a:cubicBezTo>
                  <a:cubicBezTo>
                    <a:pt x="160" y="271"/>
                    <a:pt x="164" y="266"/>
                    <a:pt x="170" y="266"/>
                  </a:cubicBezTo>
                  <a:close/>
                  <a:moveTo>
                    <a:pt x="170" y="309"/>
                  </a:moveTo>
                  <a:cubicBezTo>
                    <a:pt x="256" y="309"/>
                    <a:pt x="256" y="309"/>
                    <a:pt x="256" y="309"/>
                  </a:cubicBezTo>
                  <a:cubicBezTo>
                    <a:pt x="262" y="309"/>
                    <a:pt x="266" y="314"/>
                    <a:pt x="266" y="320"/>
                  </a:cubicBezTo>
                  <a:cubicBezTo>
                    <a:pt x="266" y="326"/>
                    <a:pt x="262" y="330"/>
                    <a:pt x="256" y="330"/>
                  </a:cubicBezTo>
                  <a:cubicBezTo>
                    <a:pt x="170" y="330"/>
                    <a:pt x="170" y="330"/>
                    <a:pt x="170" y="330"/>
                  </a:cubicBezTo>
                  <a:cubicBezTo>
                    <a:pt x="164" y="330"/>
                    <a:pt x="160" y="326"/>
                    <a:pt x="160" y="320"/>
                  </a:cubicBezTo>
                  <a:cubicBezTo>
                    <a:pt x="160" y="314"/>
                    <a:pt x="164" y="309"/>
                    <a:pt x="170" y="309"/>
                  </a:cubicBezTo>
                  <a:close/>
                  <a:moveTo>
                    <a:pt x="170" y="352"/>
                  </a:moveTo>
                  <a:cubicBezTo>
                    <a:pt x="256" y="352"/>
                    <a:pt x="256" y="352"/>
                    <a:pt x="256" y="352"/>
                  </a:cubicBezTo>
                  <a:cubicBezTo>
                    <a:pt x="262" y="352"/>
                    <a:pt x="266" y="356"/>
                    <a:pt x="266" y="362"/>
                  </a:cubicBezTo>
                  <a:cubicBezTo>
                    <a:pt x="266" y="368"/>
                    <a:pt x="262" y="373"/>
                    <a:pt x="256" y="373"/>
                  </a:cubicBezTo>
                  <a:cubicBezTo>
                    <a:pt x="170" y="373"/>
                    <a:pt x="170" y="373"/>
                    <a:pt x="170" y="373"/>
                  </a:cubicBezTo>
                  <a:cubicBezTo>
                    <a:pt x="164" y="373"/>
                    <a:pt x="160" y="368"/>
                    <a:pt x="160" y="362"/>
                  </a:cubicBezTo>
                  <a:cubicBezTo>
                    <a:pt x="160" y="356"/>
                    <a:pt x="164" y="352"/>
                    <a:pt x="170" y="352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8" y="405"/>
                  </a:moveTo>
                  <a:cubicBezTo>
                    <a:pt x="298" y="411"/>
                    <a:pt x="294" y="416"/>
                    <a:pt x="288" y="416"/>
                  </a:cubicBezTo>
                  <a:cubicBezTo>
                    <a:pt x="138" y="416"/>
                    <a:pt x="138" y="416"/>
                    <a:pt x="138" y="416"/>
                  </a:cubicBezTo>
                  <a:cubicBezTo>
                    <a:pt x="132" y="416"/>
                    <a:pt x="128" y="411"/>
                    <a:pt x="128" y="405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186"/>
                    <a:pt x="132" y="181"/>
                    <a:pt x="138" y="18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94" y="181"/>
                    <a:pt x="298" y="186"/>
                    <a:pt x="298" y="192"/>
                  </a:cubicBezTo>
                  <a:lnTo>
                    <a:pt x="298" y="405"/>
                  </a:lnTo>
                  <a:close/>
                  <a:moveTo>
                    <a:pt x="341" y="362"/>
                  </a:moveTo>
                  <a:cubicBezTo>
                    <a:pt x="341" y="368"/>
                    <a:pt x="336" y="373"/>
                    <a:pt x="330" y="373"/>
                  </a:cubicBezTo>
                  <a:cubicBezTo>
                    <a:pt x="324" y="373"/>
                    <a:pt x="320" y="368"/>
                    <a:pt x="320" y="362"/>
                  </a:cubicBezTo>
                  <a:cubicBezTo>
                    <a:pt x="320" y="160"/>
                    <a:pt x="320" y="160"/>
                    <a:pt x="320" y="160"/>
                  </a:cubicBezTo>
                  <a:cubicBezTo>
                    <a:pt x="181" y="160"/>
                    <a:pt x="181" y="160"/>
                    <a:pt x="181" y="160"/>
                  </a:cubicBezTo>
                  <a:cubicBezTo>
                    <a:pt x="175" y="160"/>
                    <a:pt x="170" y="155"/>
                    <a:pt x="170" y="149"/>
                  </a:cubicBezTo>
                  <a:cubicBezTo>
                    <a:pt x="170" y="143"/>
                    <a:pt x="175" y="138"/>
                    <a:pt x="181" y="138"/>
                  </a:cubicBezTo>
                  <a:cubicBezTo>
                    <a:pt x="330" y="138"/>
                    <a:pt x="330" y="138"/>
                    <a:pt x="330" y="138"/>
                  </a:cubicBezTo>
                  <a:cubicBezTo>
                    <a:pt x="336" y="138"/>
                    <a:pt x="341" y="143"/>
                    <a:pt x="341" y="149"/>
                  </a:cubicBezTo>
                  <a:lnTo>
                    <a:pt x="341" y="362"/>
                  </a:lnTo>
                  <a:close/>
                  <a:moveTo>
                    <a:pt x="384" y="320"/>
                  </a:moveTo>
                  <a:cubicBezTo>
                    <a:pt x="384" y="326"/>
                    <a:pt x="379" y="330"/>
                    <a:pt x="373" y="330"/>
                  </a:cubicBezTo>
                  <a:cubicBezTo>
                    <a:pt x="367" y="330"/>
                    <a:pt x="362" y="326"/>
                    <a:pt x="362" y="320"/>
                  </a:cubicBezTo>
                  <a:cubicBezTo>
                    <a:pt x="362" y="117"/>
                    <a:pt x="362" y="117"/>
                    <a:pt x="362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18" y="117"/>
                    <a:pt x="213" y="112"/>
                    <a:pt x="213" y="106"/>
                  </a:cubicBezTo>
                  <a:cubicBezTo>
                    <a:pt x="213" y="100"/>
                    <a:pt x="218" y="96"/>
                    <a:pt x="224" y="96"/>
                  </a:cubicBezTo>
                  <a:cubicBezTo>
                    <a:pt x="373" y="96"/>
                    <a:pt x="373" y="96"/>
                    <a:pt x="373" y="96"/>
                  </a:cubicBezTo>
                  <a:cubicBezTo>
                    <a:pt x="379" y="96"/>
                    <a:pt x="384" y="100"/>
                    <a:pt x="384" y="106"/>
                  </a:cubicBezTo>
                  <a:lnTo>
                    <a:pt x="384" y="32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932"/>
            <p:cNvSpPr>
              <a:spLocks noChangeAspect="1" noEditPoints="1"/>
            </p:cNvSpPr>
            <p:nvPr/>
          </p:nvSpPr>
          <p:spPr bwMode="auto">
            <a:xfrm>
              <a:off x="5154477" y="4097625"/>
              <a:ext cx="1513197" cy="1508760"/>
            </a:xfrm>
            <a:custGeom>
              <a:avLst/>
              <a:gdLst>
                <a:gd name="T0" fmla="*/ 202 w 512"/>
                <a:gd name="T1" fmla="*/ 117 h 512"/>
                <a:gd name="T2" fmla="*/ 117 w 512"/>
                <a:gd name="T3" fmla="*/ 202 h 512"/>
                <a:gd name="T4" fmla="*/ 202 w 512"/>
                <a:gd name="T5" fmla="*/ 288 h 512"/>
                <a:gd name="T6" fmla="*/ 288 w 512"/>
                <a:gd name="T7" fmla="*/ 202 h 512"/>
                <a:gd name="T8" fmla="*/ 202 w 512"/>
                <a:gd name="T9" fmla="*/ 117 h 512"/>
                <a:gd name="T10" fmla="*/ 245 w 512"/>
                <a:gd name="T11" fmla="*/ 213 h 512"/>
                <a:gd name="T12" fmla="*/ 213 w 512"/>
                <a:gd name="T13" fmla="*/ 213 h 512"/>
                <a:gd name="T14" fmla="*/ 213 w 512"/>
                <a:gd name="T15" fmla="*/ 245 h 512"/>
                <a:gd name="T16" fmla="*/ 202 w 512"/>
                <a:gd name="T17" fmla="*/ 256 h 512"/>
                <a:gd name="T18" fmla="*/ 192 w 512"/>
                <a:gd name="T19" fmla="*/ 245 h 512"/>
                <a:gd name="T20" fmla="*/ 192 w 512"/>
                <a:gd name="T21" fmla="*/ 213 h 512"/>
                <a:gd name="T22" fmla="*/ 160 w 512"/>
                <a:gd name="T23" fmla="*/ 213 h 512"/>
                <a:gd name="T24" fmla="*/ 149 w 512"/>
                <a:gd name="T25" fmla="*/ 202 h 512"/>
                <a:gd name="T26" fmla="*/ 160 w 512"/>
                <a:gd name="T27" fmla="*/ 192 h 512"/>
                <a:gd name="T28" fmla="*/ 192 w 512"/>
                <a:gd name="T29" fmla="*/ 192 h 512"/>
                <a:gd name="T30" fmla="*/ 192 w 512"/>
                <a:gd name="T31" fmla="*/ 160 h 512"/>
                <a:gd name="T32" fmla="*/ 202 w 512"/>
                <a:gd name="T33" fmla="*/ 149 h 512"/>
                <a:gd name="T34" fmla="*/ 213 w 512"/>
                <a:gd name="T35" fmla="*/ 160 h 512"/>
                <a:gd name="T36" fmla="*/ 213 w 512"/>
                <a:gd name="T37" fmla="*/ 192 h 512"/>
                <a:gd name="T38" fmla="*/ 245 w 512"/>
                <a:gd name="T39" fmla="*/ 192 h 512"/>
                <a:gd name="T40" fmla="*/ 256 w 512"/>
                <a:gd name="T41" fmla="*/ 202 h 512"/>
                <a:gd name="T42" fmla="*/ 245 w 512"/>
                <a:gd name="T43" fmla="*/ 213 h 512"/>
                <a:gd name="T44" fmla="*/ 256 w 512"/>
                <a:gd name="T45" fmla="*/ 0 h 512"/>
                <a:gd name="T46" fmla="*/ 0 w 512"/>
                <a:gd name="T47" fmla="*/ 256 h 512"/>
                <a:gd name="T48" fmla="*/ 256 w 512"/>
                <a:gd name="T49" fmla="*/ 512 h 512"/>
                <a:gd name="T50" fmla="*/ 512 w 512"/>
                <a:gd name="T51" fmla="*/ 256 h 512"/>
                <a:gd name="T52" fmla="*/ 256 w 512"/>
                <a:gd name="T53" fmla="*/ 0 h 512"/>
                <a:gd name="T54" fmla="*/ 381 w 512"/>
                <a:gd name="T55" fmla="*/ 381 h 512"/>
                <a:gd name="T56" fmla="*/ 373 w 512"/>
                <a:gd name="T57" fmla="*/ 384 h 512"/>
                <a:gd name="T58" fmla="*/ 365 w 512"/>
                <a:gd name="T59" fmla="*/ 381 h 512"/>
                <a:gd name="T60" fmla="*/ 270 w 512"/>
                <a:gd name="T61" fmla="*/ 285 h 512"/>
                <a:gd name="T62" fmla="*/ 202 w 512"/>
                <a:gd name="T63" fmla="*/ 309 h 512"/>
                <a:gd name="T64" fmla="*/ 96 w 512"/>
                <a:gd name="T65" fmla="*/ 202 h 512"/>
                <a:gd name="T66" fmla="*/ 202 w 512"/>
                <a:gd name="T67" fmla="*/ 96 h 512"/>
                <a:gd name="T68" fmla="*/ 309 w 512"/>
                <a:gd name="T69" fmla="*/ 202 h 512"/>
                <a:gd name="T70" fmla="*/ 285 w 512"/>
                <a:gd name="T71" fmla="*/ 270 h 512"/>
                <a:gd name="T72" fmla="*/ 381 w 512"/>
                <a:gd name="T73" fmla="*/ 365 h 512"/>
                <a:gd name="T74" fmla="*/ 381 w 512"/>
                <a:gd name="T75" fmla="*/ 3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2" h="512">
                  <a:moveTo>
                    <a:pt x="202" y="117"/>
                  </a:moveTo>
                  <a:cubicBezTo>
                    <a:pt x="155" y="117"/>
                    <a:pt x="117" y="155"/>
                    <a:pt x="117" y="202"/>
                  </a:cubicBezTo>
                  <a:cubicBezTo>
                    <a:pt x="117" y="249"/>
                    <a:pt x="155" y="288"/>
                    <a:pt x="202" y="288"/>
                  </a:cubicBezTo>
                  <a:cubicBezTo>
                    <a:pt x="249" y="288"/>
                    <a:pt x="288" y="249"/>
                    <a:pt x="288" y="202"/>
                  </a:cubicBezTo>
                  <a:cubicBezTo>
                    <a:pt x="288" y="155"/>
                    <a:pt x="249" y="117"/>
                    <a:pt x="202" y="117"/>
                  </a:cubicBezTo>
                  <a:close/>
                  <a:moveTo>
                    <a:pt x="245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245"/>
                    <a:pt x="213" y="245"/>
                    <a:pt x="213" y="245"/>
                  </a:cubicBezTo>
                  <a:cubicBezTo>
                    <a:pt x="213" y="251"/>
                    <a:pt x="208" y="256"/>
                    <a:pt x="202" y="256"/>
                  </a:cubicBezTo>
                  <a:cubicBezTo>
                    <a:pt x="196" y="256"/>
                    <a:pt x="192" y="251"/>
                    <a:pt x="192" y="245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160" y="213"/>
                    <a:pt x="160" y="213"/>
                    <a:pt x="160" y="213"/>
                  </a:cubicBezTo>
                  <a:cubicBezTo>
                    <a:pt x="154" y="213"/>
                    <a:pt x="149" y="208"/>
                    <a:pt x="149" y="202"/>
                  </a:cubicBezTo>
                  <a:cubicBezTo>
                    <a:pt x="149" y="196"/>
                    <a:pt x="154" y="192"/>
                    <a:pt x="16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2" y="154"/>
                    <a:pt x="196" y="149"/>
                    <a:pt x="202" y="149"/>
                  </a:cubicBezTo>
                  <a:cubicBezTo>
                    <a:pt x="208" y="149"/>
                    <a:pt x="213" y="154"/>
                    <a:pt x="213" y="160"/>
                  </a:cubicBezTo>
                  <a:cubicBezTo>
                    <a:pt x="213" y="192"/>
                    <a:pt x="213" y="192"/>
                    <a:pt x="213" y="192"/>
                  </a:cubicBezTo>
                  <a:cubicBezTo>
                    <a:pt x="245" y="192"/>
                    <a:pt x="245" y="192"/>
                    <a:pt x="245" y="192"/>
                  </a:cubicBezTo>
                  <a:cubicBezTo>
                    <a:pt x="251" y="192"/>
                    <a:pt x="256" y="196"/>
                    <a:pt x="256" y="202"/>
                  </a:cubicBezTo>
                  <a:cubicBezTo>
                    <a:pt x="256" y="208"/>
                    <a:pt x="251" y="213"/>
                    <a:pt x="245" y="213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81" y="381"/>
                  </a:moveTo>
                  <a:cubicBezTo>
                    <a:pt x="378" y="383"/>
                    <a:pt x="376" y="384"/>
                    <a:pt x="373" y="384"/>
                  </a:cubicBezTo>
                  <a:cubicBezTo>
                    <a:pt x="370" y="384"/>
                    <a:pt x="368" y="383"/>
                    <a:pt x="365" y="381"/>
                  </a:cubicBezTo>
                  <a:cubicBezTo>
                    <a:pt x="270" y="285"/>
                    <a:pt x="270" y="285"/>
                    <a:pt x="270" y="285"/>
                  </a:cubicBezTo>
                  <a:cubicBezTo>
                    <a:pt x="251" y="300"/>
                    <a:pt x="228" y="309"/>
                    <a:pt x="202" y="309"/>
                  </a:cubicBezTo>
                  <a:cubicBezTo>
                    <a:pt x="144" y="309"/>
                    <a:pt x="96" y="261"/>
                    <a:pt x="96" y="202"/>
                  </a:cubicBezTo>
                  <a:cubicBezTo>
                    <a:pt x="96" y="144"/>
                    <a:pt x="144" y="96"/>
                    <a:pt x="202" y="96"/>
                  </a:cubicBezTo>
                  <a:cubicBezTo>
                    <a:pt x="261" y="96"/>
                    <a:pt x="309" y="144"/>
                    <a:pt x="309" y="202"/>
                  </a:cubicBezTo>
                  <a:cubicBezTo>
                    <a:pt x="309" y="228"/>
                    <a:pt x="300" y="251"/>
                    <a:pt x="285" y="270"/>
                  </a:cubicBezTo>
                  <a:cubicBezTo>
                    <a:pt x="381" y="365"/>
                    <a:pt x="381" y="365"/>
                    <a:pt x="381" y="365"/>
                  </a:cubicBezTo>
                  <a:cubicBezTo>
                    <a:pt x="385" y="370"/>
                    <a:pt x="385" y="376"/>
                    <a:pt x="381" y="381"/>
                  </a:cubicBezTo>
                  <a:close/>
                </a:path>
              </a:pathLst>
            </a:custGeom>
            <a:solidFill>
              <a:srgbClr val="43B02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478683" y="4099149"/>
              <a:ext cx="1645920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n-US" sz="1000" b="1" dirty="0" smtClean="0">
                  <a:solidFill>
                    <a:schemeClr val="accent4"/>
                  </a:solidFill>
                </a:rPr>
                <a:t>User</a:t>
              </a:r>
              <a:endParaRPr lang="en-US" sz="1000" b="1" dirty="0" smtClean="0">
                <a:solidFill>
                  <a:schemeClr val="accent4"/>
                </a:solidFill>
              </a:endParaRPr>
            </a:p>
            <a:p>
              <a:pPr algn="just"/>
              <a:r>
                <a:rPr lang="en-US" sz="1000" dirty="0" smtClean="0">
                  <a:solidFill>
                    <a:schemeClr val="accent4"/>
                  </a:solidFill>
                </a:rPr>
                <a:t>Potential users of this architecture include life science researchers and the employees of drug manufacturing cos.</a:t>
              </a:r>
              <a:endParaRPr lang="en-US" sz="800" dirty="0">
                <a:solidFill>
                  <a:schemeClr val="accent4"/>
                </a:solidFill>
              </a:endParaRPr>
            </a:p>
          </p:txBody>
        </p:sp>
        <p:sp>
          <p:nvSpPr>
            <p:cNvPr id="88" name="Freeform 214"/>
            <p:cNvSpPr>
              <a:spLocks noChangeAspect="1" noEditPoints="1"/>
            </p:cNvSpPr>
            <p:nvPr/>
          </p:nvSpPr>
          <p:spPr bwMode="auto">
            <a:xfrm>
              <a:off x="2822798" y="757926"/>
              <a:ext cx="1508760" cy="1508760"/>
            </a:xfrm>
            <a:custGeom>
              <a:avLst/>
              <a:gdLst>
                <a:gd name="T0" fmla="*/ 320 w 512"/>
                <a:gd name="T1" fmla="*/ 245 h 512"/>
                <a:gd name="T2" fmla="*/ 373 w 512"/>
                <a:gd name="T3" fmla="*/ 245 h 512"/>
                <a:gd name="T4" fmla="*/ 373 w 512"/>
                <a:gd name="T5" fmla="*/ 373 h 512"/>
                <a:gd name="T6" fmla="*/ 320 w 512"/>
                <a:gd name="T7" fmla="*/ 373 h 512"/>
                <a:gd name="T8" fmla="*/ 320 w 512"/>
                <a:gd name="T9" fmla="*/ 245 h 512"/>
                <a:gd name="T10" fmla="*/ 330 w 512"/>
                <a:gd name="T11" fmla="*/ 224 h 512"/>
                <a:gd name="T12" fmla="*/ 309 w 512"/>
                <a:gd name="T13" fmla="*/ 224 h 512"/>
                <a:gd name="T14" fmla="*/ 298 w 512"/>
                <a:gd name="T15" fmla="*/ 234 h 512"/>
                <a:gd name="T16" fmla="*/ 298 w 512"/>
                <a:gd name="T17" fmla="*/ 352 h 512"/>
                <a:gd name="T18" fmla="*/ 160 w 512"/>
                <a:gd name="T19" fmla="*/ 352 h 512"/>
                <a:gd name="T20" fmla="*/ 160 w 512"/>
                <a:gd name="T21" fmla="*/ 128 h 512"/>
                <a:gd name="T22" fmla="*/ 330 w 512"/>
                <a:gd name="T23" fmla="*/ 128 h 512"/>
                <a:gd name="T24" fmla="*/ 330 w 512"/>
                <a:gd name="T25" fmla="*/ 224 h 512"/>
                <a:gd name="T26" fmla="*/ 256 w 512"/>
                <a:gd name="T27" fmla="*/ 320 h 512"/>
                <a:gd name="T28" fmla="*/ 245 w 512"/>
                <a:gd name="T29" fmla="*/ 309 h 512"/>
                <a:gd name="T30" fmla="*/ 234 w 512"/>
                <a:gd name="T31" fmla="*/ 320 h 512"/>
                <a:gd name="T32" fmla="*/ 245 w 512"/>
                <a:gd name="T33" fmla="*/ 330 h 512"/>
                <a:gd name="T34" fmla="*/ 256 w 512"/>
                <a:gd name="T35" fmla="*/ 320 h 512"/>
                <a:gd name="T36" fmla="*/ 512 w 512"/>
                <a:gd name="T37" fmla="*/ 256 h 512"/>
                <a:gd name="T38" fmla="*/ 256 w 512"/>
                <a:gd name="T39" fmla="*/ 512 h 512"/>
                <a:gd name="T40" fmla="*/ 0 w 512"/>
                <a:gd name="T41" fmla="*/ 256 h 512"/>
                <a:gd name="T42" fmla="*/ 256 w 512"/>
                <a:gd name="T43" fmla="*/ 0 h 512"/>
                <a:gd name="T44" fmla="*/ 512 w 512"/>
                <a:gd name="T45" fmla="*/ 256 h 512"/>
                <a:gd name="T46" fmla="*/ 394 w 512"/>
                <a:gd name="T47" fmla="*/ 234 h 512"/>
                <a:gd name="T48" fmla="*/ 384 w 512"/>
                <a:gd name="T49" fmla="*/ 224 h 512"/>
                <a:gd name="T50" fmla="*/ 352 w 512"/>
                <a:gd name="T51" fmla="*/ 224 h 512"/>
                <a:gd name="T52" fmla="*/ 352 w 512"/>
                <a:gd name="T53" fmla="*/ 117 h 512"/>
                <a:gd name="T54" fmla="*/ 341 w 512"/>
                <a:gd name="T55" fmla="*/ 106 h 512"/>
                <a:gd name="T56" fmla="*/ 149 w 512"/>
                <a:gd name="T57" fmla="*/ 106 h 512"/>
                <a:gd name="T58" fmla="*/ 138 w 512"/>
                <a:gd name="T59" fmla="*/ 117 h 512"/>
                <a:gd name="T60" fmla="*/ 138 w 512"/>
                <a:gd name="T61" fmla="*/ 362 h 512"/>
                <a:gd name="T62" fmla="*/ 149 w 512"/>
                <a:gd name="T63" fmla="*/ 373 h 512"/>
                <a:gd name="T64" fmla="*/ 298 w 512"/>
                <a:gd name="T65" fmla="*/ 373 h 512"/>
                <a:gd name="T66" fmla="*/ 298 w 512"/>
                <a:gd name="T67" fmla="*/ 384 h 512"/>
                <a:gd name="T68" fmla="*/ 309 w 512"/>
                <a:gd name="T69" fmla="*/ 394 h 512"/>
                <a:gd name="T70" fmla="*/ 384 w 512"/>
                <a:gd name="T71" fmla="*/ 394 h 512"/>
                <a:gd name="T72" fmla="*/ 394 w 512"/>
                <a:gd name="T73" fmla="*/ 384 h 512"/>
                <a:gd name="T74" fmla="*/ 394 w 512"/>
                <a:gd name="T75" fmla="*/ 23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2" h="512">
                  <a:moveTo>
                    <a:pt x="320" y="245"/>
                  </a:moveTo>
                  <a:cubicBezTo>
                    <a:pt x="373" y="245"/>
                    <a:pt x="373" y="245"/>
                    <a:pt x="373" y="245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320" y="373"/>
                    <a:pt x="320" y="373"/>
                    <a:pt x="320" y="373"/>
                  </a:cubicBezTo>
                  <a:lnTo>
                    <a:pt x="320" y="245"/>
                  </a:lnTo>
                  <a:close/>
                  <a:moveTo>
                    <a:pt x="330" y="224"/>
                  </a:moveTo>
                  <a:cubicBezTo>
                    <a:pt x="309" y="224"/>
                    <a:pt x="309" y="224"/>
                    <a:pt x="309" y="224"/>
                  </a:cubicBezTo>
                  <a:cubicBezTo>
                    <a:pt x="303" y="224"/>
                    <a:pt x="298" y="228"/>
                    <a:pt x="298" y="234"/>
                  </a:cubicBezTo>
                  <a:cubicBezTo>
                    <a:pt x="298" y="352"/>
                    <a:pt x="298" y="352"/>
                    <a:pt x="298" y="352"/>
                  </a:cubicBezTo>
                  <a:cubicBezTo>
                    <a:pt x="160" y="352"/>
                    <a:pt x="160" y="352"/>
                    <a:pt x="160" y="352"/>
                  </a:cubicBezTo>
                  <a:cubicBezTo>
                    <a:pt x="160" y="128"/>
                    <a:pt x="160" y="128"/>
                    <a:pt x="160" y="128"/>
                  </a:cubicBezTo>
                  <a:cubicBezTo>
                    <a:pt x="330" y="128"/>
                    <a:pt x="330" y="128"/>
                    <a:pt x="330" y="128"/>
                  </a:cubicBezTo>
                  <a:lnTo>
                    <a:pt x="330" y="224"/>
                  </a:lnTo>
                  <a:close/>
                  <a:moveTo>
                    <a:pt x="256" y="320"/>
                  </a:moveTo>
                  <a:cubicBezTo>
                    <a:pt x="256" y="314"/>
                    <a:pt x="251" y="309"/>
                    <a:pt x="245" y="309"/>
                  </a:cubicBezTo>
                  <a:cubicBezTo>
                    <a:pt x="239" y="309"/>
                    <a:pt x="234" y="314"/>
                    <a:pt x="234" y="320"/>
                  </a:cubicBezTo>
                  <a:cubicBezTo>
                    <a:pt x="234" y="326"/>
                    <a:pt x="239" y="330"/>
                    <a:pt x="245" y="330"/>
                  </a:cubicBezTo>
                  <a:cubicBezTo>
                    <a:pt x="251" y="330"/>
                    <a:pt x="256" y="326"/>
                    <a:pt x="256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34"/>
                  </a:moveTo>
                  <a:cubicBezTo>
                    <a:pt x="394" y="228"/>
                    <a:pt x="390" y="224"/>
                    <a:pt x="384" y="224"/>
                  </a:cubicBezTo>
                  <a:cubicBezTo>
                    <a:pt x="352" y="224"/>
                    <a:pt x="352" y="224"/>
                    <a:pt x="352" y="224"/>
                  </a:cubicBezTo>
                  <a:cubicBezTo>
                    <a:pt x="352" y="117"/>
                    <a:pt x="352" y="117"/>
                    <a:pt x="352" y="117"/>
                  </a:cubicBezTo>
                  <a:cubicBezTo>
                    <a:pt x="352" y="111"/>
                    <a:pt x="347" y="106"/>
                    <a:pt x="34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3" y="106"/>
                    <a:pt x="138" y="111"/>
                    <a:pt x="138" y="117"/>
                  </a:cubicBezTo>
                  <a:cubicBezTo>
                    <a:pt x="138" y="362"/>
                    <a:pt x="138" y="362"/>
                    <a:pt x="138" y="362"/>
                  </a:cubicBezTo>
                  <a:cubicBezTo>
                    <a:pt x="138" y="368"/>
                    <a:pt x="143" y="373"/>
                    <a:pt x="149" y="373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8" y="384"/>
                    <a:pt x="298" y="384"/>
                    <a:pt x="298" y="384"/>
                  </a:cubicBezTo>
                  <a:cubicBezTo>
                    <a:pt x="298" y="390"/>
                    <a:pt x="303" y="394"/>
                    <a:pt x="309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3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9" name="Rectangle 88"/>
            <p:cNvSpPr/>
            <p:nvPr/>
          </p:nvSpPr>
          <p:spPr>
            <a:xfrm>
              <a:off x="2760620" y="2432957"/>
              <a:ext cx="1645920" cy="7694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n-US" sz="1000" b="1" dirty="0" smtClean="0">
                  <a:solidFill>
                    <a:schemeClr val="accent3"/>
                  </a:solidFill>
                </a:rPr>
                <a:t>Automation BOT</a:t>
              </a:r>
              <a:endParaRPr lang="en-US" sz="1000" b="1" dirty="0" smtClean="0">
                <a:solidFill>
                  <a:schemeClr val="accent3"/>
                </a:solidFill>
              </a:endParaRPr>
            </a:p>
            <a:p>
              <a:pPr algn="just"/>
              <a:r>
                <a:rPr lang="en-US" sz="1000" dirty="0" smtClean="0">
                  <a:solidFill>
                    <a:schemeClr val="accent3"/>
                  </a:solidFill>
                </a:rPr>
                <a:t>A web robot would be set up which would interact with the user based on voice/text commands</a:t>
              </a:r>
              <a:endParaRPr lang="en-US" sz="800" dirty="0">
                <a:solidFill>
                  <a:schemeClr val="accent3"/>
                </a:solidFill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1297715" y="1503070"/>
              <a:ext cx="1525083" cy="925880"/>
              <a:chOff x="790144" y="1436440"/>
              <a:chExt cx="2145555" cy="1343478"/>
            </a:xfrm>
          </p:grpSpPr>
          <p:cxnSp>
            <p:nvCxnSpPr>
              <p:cNvPr id="17" name="Straight Arrow Connector 16"/>
              <p:cNvCxnSpPr>
                <a:stCxn id="52" idx="8"/>
                <a:endCxn id="88" idx="20"/>
              </p:cNvCxnSpPr>
              <p:nvPr/>
            </p:nvCxnSpPr>
            <p:spPr>
              <a:xfrm flipV="1">
                <a:off x="790144" y="1436440"/>
                <a:ext cx="2145555" cy="1330076"/>
              </a:xfrm>
              <a:prstGeom prst="straightConnector1">
                <a:avLst/>
              </a:prstGeom>
              <a:ln w="12700">
                <a:solidFill>
                  <a:schemeClr val="tx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Arrow Connector 18"/>
              <p:cNvCxnSpPr/>
              <p:nvPr/>
            </p:nvCxnSpPr>
            <p:spPr>
              <a:xfrm flipH="1">
                <a:off x="1325423" y="1863274"/>
                <a:ext cx="1525083" cy="916644"/>
              </a:xfrm>
              <a:prstGeom prst="straightConnector1">
                <a:avLst/>
              </a:prstGeom>
              <a:ln>
                <a:solidFill>
                  <a:schemeClr val="tx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Rectangle 93"/>
            <p:cNvSpPr/>
            <p:nvPr/>
          </p:nvSpPr>
          <p:spPr>
            <a:xfrm>
              <a:off x="5086594" y="2432957"/>
              <a:ext cx="1645920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000" b="1" dirty="0" smtClean="0">
                  <a:solidFill>
                    <a:schemeClr val="accent5"/>
                  </a:solidFill>
                </a:rPr>
                <a:t>Auto Web Search</a:t>
              </a:r>
              <a:endParaRPr lang="en-US" sz="1000" b="1" dirty="0" smtClean="0">
                <a:solidFill>
                  <a:schemeClr val="accent5"/>
                </a:solidFill>
              </a:endParaRPr>
            </a:p>
            <a:p>
              <a:pPr algn="just"/>
              <a:r>
                <a:rPr lang="en-US" sz="1000" dirty="0" smtClean="0">
                  <a:solidFill>
                    <a:schemeClr val="accent5"/>
                  </a:solidFill>
                </a:rPr>
                <a:t>For complex queries, BOT will leverage “close domain” web search to extract relevant documents/web pages</a:t>
              </a:r>
              <a:endParaRPr lang="en-US" sz="800" dirty="0">
                <a:solidFill>
                  <a:schemeClr val="accent5"/>
                </a:solidFill>
              </a:endParaRPr>
            </a:p>
          </p:txBody>
        </p:sp>
        <p:cxnSp>
          <p:nvCxnSpPr>
            <p:cNvPr id="35845" name="Straight Arrow Connector 35844"/>
            <p:cNvCxnSpPr/>
            <p:nvPr/>
          </p:nvCxnSpPr>
          <p:spPr>
            <a:xfrm>
              <a:off x="4414682" y="1512306"/>
              <a:ext cx="640080" cy="0"/>
            </a:xfrm>
            <a:prstGeom prst="straightConnector1">
              <a:avLst/>
            </a:prstGeom>
            <a:ln w="127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Freeform 611"/>
            <p:cNvSpPr>
              <a:spLocks noChangeAspect="1" noEditPoints="1"/>
            </p:cNvSpPr>
            <p:nvPr/>
          </p:nvSpPr>
          <p:spPr bwMode="auto">
            <a:xfrm>
              <a:off x="7191898" y="2432957"/>
              <a:ext cx="1508760" cy="150876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49 w 512"/>
                <a:gd name="T11" fmla="*/ 362 h 512"/>
                <a:gd name="T12" fmla="*/ 128 w 512"/>
                <a:gd name="T13" fmla="*/ 362 h 512"/>
                <a:gd name="T14" fmla="*/ 117 w 512"/>
                <a:gd name="T15" fmla="*/ 352 h 512"/>
                <a:gd name="T16" fmla="*/ 128 w 512"/>
                <a:gd name="T17" fmla="*/ 341 h 512"/>
                <a:gd name="T18" fmla="*/ 149 w 512"/>
                <a:gd name="T19" fmla="*/ 341 h 512"/>
                <a:gd name="T20" fmla="*/ 160 w 512"/>
                <a:gd name="T21" fmla="*/ 352 h 512"/>
                <a:gd name="T22" fmla="*/ 149 w 512"/>
                <a:gd name="T23" fmla="*/ 362 h 512"/>
                <a:gd name="T24" fmla="*/ 149 w 512"/>
                <a:gd name="T25" fmla="*/ 298 h 512"/>
                <a:gd name="T26" fmla="*/ 128 w 512"/>
                <a:gd name="T27" fmla="*/ 298 h 512"/>
                <a:gd name="T28" fmla="*/ 117 w 512"/>
                <a:gd name="T29" fmla="*/ 288 h 512"/>
                <a:gd name="T30" fmla="*/ 128 w 512"/>
                <a:gd name="T31" fmla="*/ 277 h 512"/>
                <a:gd name="T32" fmla="*/ 149 w 512"/>
                <a:gd name="T33" fmla="*/ 277 h 512"/>
                <a:gd name="T34" fmla="*/ 160 w 512"/>
                <a:gd name="T35" fmla="*/ 288 h 512"/>
                <a:gd name="T36" fmla="*/ 149 w 512"/>
                <a:gd name="T37" fmla="*/ 298 h 512"/>
                <a:gd name="T38" fmla="*/ 149 w 512"/>
                <a:gd name="T39" fmla="*/ 234 h 512"/>
                <a:gd name="T40" fmla="*/ 128 w 512"/>
                <a:gd name="T41" fmla="*/ 234 h 512"/>
                <a:gd name="T42" fmla="*/ 117 w 512"/>
                <a:gd name="T43" fmla="*/ 224 h 512"/>
                <a:gd name="T44" fmla="*/ 128 w 512"/>
                <a:gd name="T45" fmla="*/ 213 h 512"/>
                <a:gd name="T46" fmla="*/ 149 w 512"/>
                <a:gd name="T47" fmla="*/ 213 h 512"/>
                <a:gd name="T48" fmla="*/ 160 w 512"/>
                <a:gd name="T49" fmla="*/ 224 h 512"/>
                <a:gd name="T50" fmla="*/ 149 w 512"/>
                <a:gd name="T51" fmla="*/ 234 h 512"/>
                <a:gd name="T52" fmla="*/ 149 w 512"/>
                <a:gd name="T53" fmla="*/ 170 h 512"/>
                <a:gd name="T54" fmla="*/ 128 w 512"/>
                <a:gd name="T55" fmla="*/ 170 h 512"/>
                <a:gd name="T56" fmla="*/ 117 w 512"/>
                <a:gd name="T57" fmla="*/ 160 h 512"/>
                <a:gd name="T58" fmla="*/ 128 w 512"/>
                <a:gd name="T59" fmla="*/ 149 h 512"/>
                <a:gd name="T60" fmla="*/ 149 w 512"/>
                <a:gd name="T61" fmla="*/ 149 h 512"/>
                <a:gd name="T62" fmla="*/ 160 w 512"/>
                <a:gd name="T63" fmla="*/ 160 h 512"/>
                <a:gd name="T64" fmla="*/ 149 w 512"/>
                <a:gd name="T65" fmla="*/ 170 h 512"/>
                <a:gd name="T66" fmla="*/ 384 w 512"/>
                <a:gd name="T67" fmla="*/ 362 h 512"/>
                <a:gd name="T68" fmla="*/ 202 w 512"/>
                <a:gd name="T69" fmla="*/ 362 h 512"/>
                <a:gd name="T70" fmla="*/ 192 w 512"/>
                <a:gd name="T71" fmla="*/ 352 h 512"/>
                <a:gd name="T72" fmla="*/ 202 w 512"/>
                <a:gd name="T73" fmla="*/ 341 h 512"/>
                <a:gd name="T74" fmla="*/ 384 w 512"/>
                <a:gd name="T75" fmla="*/ 341 h 512"/>
                <a:gd name="T76" fmla="*/ 394 w 512"/>
                <a:gd name="T77" fmla="*/ 352 h 512"/>
                <a:gd name="T78" fmla="*/ 384 w 512"/>
                <a:gd name="T79" fmla="*/ 362 h 512"/>
                <a:gd name="T80" fmla="*/ 384 w 512"/>
                <a:gd name="T81" fmla="*/ 298 h 512"/>
                <a:gd name="T82" fmla="*/ 202 w 512"/>
                <a:gd name="T83" fmla="*/ 298 h 512"/>
                <a:gd name="T84" fmla="*/ 192 w 512"/>
                <a:gd name="T85" fmla="*/ 288 h 512"/>
                <a:gd name="T86" fmla="*/ 202 w 512"/>
                <a:gd name="T87" fmla="*/ 277 h 512"/>
                <a:gd name="T88" fmla="*/ 384 w 512"/>
                <a:gd name="T89" fmla="*/ 277 h 512"/>
                <a:gd name="T90" fmla="*/ 394 w 512"/>
                <a:gd name="T91" fmla="*/ 288 h 512"/>
                <a:gd name="T92" fmla="*/ 384 w 512"/>
                <a:gd name="T93" fmla="*/ 298 h 512"/>
                <a:gd name="T94" fmla="*/ 384 w 512"/>
                <a:gd name="T95" fmla="*/ 234 h 512"/>
                <a:gd name="T96" fmla="*/ 202 w 512"/>
                <a:gd name="T97" fmla="*/ 234 h 512"/>
                <a:gd name="T98" fmla="*/ 192 w 512"/>
                <a:gd name="T99" fmla="*/ 224 h 512"/>
                <a:gd name="T100" fmla="*/ 202 w 512"/>
                <a:gd name="T101" fmla="*/ 213 h 512"/>
                <a:gd name="T102" fmla="*/ 384 w 512"/>
                <a:gd name="T103" fmla="*/ 213 h 512"/>
                <a:gd name="T104" fmla="*/ 394 w 512"/>
                <a:gd name="T105" fmla="*/ 224 h 512"/>
                <a:gd name="T106" fmla="*/ 384 w 512"/>
                <a:gd name="T107" fmla="*/ 234 h 512"/>
                <a:gd name="T108" fmla="*/ 384 w 512"/>
                <a:gd name="T109" fmla="*/ 170 h 512"/>
                <a:gd name="T110" fmla="*/ 202 w 512"/>
                <a:gd name="T111" fmla="*/ 170 h 512"/>
                <a:gd name="T112" fmla="*/ 192 w 512"/>
                <a:gd name="T113" fmla="*/ 160 h 512"/>
                <a:gd name="T114" fmla="*/ 202 w 512"/>
                <a:gd name="T115" fmla="*/ 149 h 512"/>
                <a:gd name="T116" fmla="*/ 384 w 512"/>
                <a:gd name="T117" fmla="*/ 149 h 512"/>
                <a:gd name="T118" fmla="*/ 394 w 512"/>
                <a:gd name="T119" fmla="*/ 160 h 512"/>
                <a:gd name="T120" fmla="*/ 384 w 512"/>
                <a:gd name="T121" fmla="*/ 1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49" y="362"/>
                  </a:moveTo>
                  <a:cubicBezTo>
                    <a:pt x="128" y="362"/>
                    <a:pt x="128" y="362"/>
                    <a:pt x="128" y="362"/>
                  </a:cubicBezTo>
                  <a:cubicBezTo>
                    <a:pt x="122" y="362"/>
                    <a:pt x="117" y="358"/>
                    <a:pt x="117" y="352"/>
                  </a:cubicBezTo>
                  <a:cubicBezTo>
                    <a:pt x="117" y="346"/>
                    <a:pt x="122" y="341"/>
                    <a:pt x="128" y="341"/>
                  </a:cubicBezTo>
                  <a:cubicBezTo>
                    <a:pt x="149" y="341"/>
                    <a:pt x="149" y="341"/>
                    <a:pt x="149" y="341"/>
                  </a:cubicBezTo>
                  <a:cubicBezTo>
                    <a:pt x="155" y="341"/>
                    <a:pt x="160" y="346"/>
                    <a:pt x="160" y="352"/>
                  </a:cubicBezTo>
                  <a:cubicBezTo>
                    <a:pt x="160" y="358"/>
                    <a:pt x="155" y="362"/>
                    <a:pt x="149" y="362"/>
                  </a:cubicBezTo>
                  <a:close/>
                  <a:moveTo>
                    <a:pt x="149" y="298"/>
                  </a:moveTo>
                  <a:cubicBezTo>
                    <a:pt x="128" y="298"/>
                    <a:pt x="128" y="298"/>
                    <a:pt x="128" y="298"/>
                  </a:cubicBezTo>
                  <a:cubicBezTo>
                    <a:pt x="122" y="298"/>
                    <a:pt x="117" y="294"/>
                    <a:pt x="117" y="288"/>
                  </a:cubicBezTo>
                  <a:cubicBezTo>
                    <a:pt x="117" y="282"/>
                    <a:pt x="122" y="277"/>
                    <a:pt x="128" y="277"/>
                  </a:cubicBezTo>
                  <a:cubicBezTo>
                    <a:pt x="149" y="277"/>
                    <a:pt x="149" y="277"/>
                    <a:pt x="149" y="277"/>
                  </a:cubicBezTo>
                  <a:cubicBezTo>
                    <a:pt x="155" y="277"/>
                    <a:pt x="160" y="282"/>
                    <a:pt x="160" y="288"/>
                  </a:cubicBezTo>
                  <a:cubicBezTo>
                    <a:pt x="160" y="294"/>
                    <a:pt x="155" y="298"/>
                    <a:pt x="149" y="298"/>
                  </a:cubicBezTo>
                  <a:close/>
                  <a:moveTo>
                    <a:pt x="149" y="234"/>
                  </a:moveTo>
                  <a:cubicBezTo>
                    <a:pt x="128" y="234"/>
                    <a:pt x="128" y="234"/>
                    <a:pt x="128" y="234"/>
                  </a:cubicBezTo>
                  <a:cubicBezTo>
                    <a:pt x="122" y="234"/>
                    <a:pt x="117" y="230"/>
                    <a:pt x="117" y="224"/>
                  </a:cubicBezTo>
                  <a:cubicBezTo>
                    <a:pt x="117" y="218"/>
                    <a:pt x="122" y="213"/>
                    <a:pt x="128" y="213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55" y="213"/>
                    <a:pt x="160" y="218"/>
                    <a:pt x="160" y="224"/>
                  </a:cubicBezTo>
                  <a:cubicBezTo>
                    <a:pt x="160" y="230"/>
                    <a:pt x="155" y="234"/>
                    <a:pt x="149" y="234"/>
                  </a:cubicBezTo>
                  <a:close/>
                  <a:moveTo>
                    <a:pt x="149" y="170"/>
                  </a:moveTo>
                  <a:cubicBezTo>
                    <a:pt x="128" y="170"/>
                    <a:pt x="128" y="170"/>
                    <a:pt x="128" y="170"/>
                  </a:cubicBezTo>
                  <a:cubicBezTo>
                    <a:pt x="122" y="170"/>
                    <a:pt x="117" y="166"/>
                    <a:pt x="117" y="160"/>
                  </a:cubicBezTo>
                  <a:cubicBezTo>
                    <a:pt x="117" y="154"/>
                    <a:pt x="122" y="149"/>
                    <a:pt x="128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55" y="149"/>
                    <a:pt x="160" y="154"/>
                    <a:pt x="160" y="160"/>
                  </a:cubicBezTo>
                  <a:cubicBezTo>
                    <a:pt x="160" y="166"/>
                    <a:pt x="155" y="170"/>
                    <a:pt x="149" y="170"/>
                  </a:cubicBezTo>
                  <a:close/>
                  <a:moveTo>
                    <a:pt x="384" y="362"/>
                  </a:moveTo>
                  <a:cubicBezTo>
                    <a:pt x="202" y="362"/>
                    <a:pt x="202" y="362"/>
                    <a:pt x="202" y="362"/>
                  </a:cubicBezTo>
                  <a:cubicBezTo>
                    <a:pt x="196" y="362"/>
                    <a:pt x="192" y="358"/>
                    <a:pt x="192" y="352"/>
                  </a:cubicBezTo>
                  <a:cubicBezTo>
                    <a:pt x="192" y="346"/>
                    <a:pt x="196" y="341"/>
                    <a:pt x="202" y="341"/>
                  </a:cubicBezTo>
                  <a:cubicBezTo>
                    <a:pt x="384" y="341"/>
                    <a:pt x="384" y="341"/>
                    <a:pt x="384" y="341"/>
                  </a:cubicBezTo>
                  <a:cubicBezTo>
                    <a:pt x="390" y="341"/>
                    <a:pt x="394" y="346"/>
                    <a:pt x="394" y="352"/>
                  </a:cubicBezTo>
                  <a:cubicBezTo>
                    <a:pt x="394" y="358"/>
                    <a:pt x="390" y="362"/>
                    <a:pt x="384" y="362"/>
                  </a:cubicBezTo>
                  <a:close/>
                  <a:moveTo>
                    <a:pt x="384" y="298"/>
                  </a:moveTo>
                  <a:cubicBezTo>
                    <a:pt x="202" y="298"/>
                    <a:pt x="202" y="298"/>
                    <a:pt x="202" y="298"/>
                  </a:cubicBezTo>
                  <a:cubicBezTo>
                    <a:pt x="196" y="298"/>
                    <a:pt x="192" y="294"/>
                    <a:pt x="192" y="288"/>
                  </a:cubicBezTo>
                  <a:cubicBezTo>
                    <a:pt x="192" y="282"/>
                    <a:pt x="196" y="277"/>
                    <a:pt x="202" y="277"/>
                  </a:cubicBezTo>
                  <a:cubicBezTo>
                    <a:pt x="384" y="277"/>
                    <a:pt x="384" y="277"/>
                    <a:pt x="384" y="277"/>
                  </a:cubicBezTo>
                  <a:cubicBezTo>
                    <a:pt x="390" y="277"/>
                    <a:pt x="394" y="282"/>
                    <a:pt x="394" y="288"/>
                  </a:cubicBezTo>
                  <a:cubicBezTo>
                    <a:pt x="394" y="294"/>
                    <a:pt x="390" y="298"/>
                    <a:pt x="384" y="298"/>
                  </a:cubicBezTo>
                  <a:close/>
                  <a:moveTo>
                    <a:pt x="384" y="234"/>
                  </a:moveTo>
                  <a:cubicBezTo>
                    <a:pt x="202" y="234"/>
                    <a:pt x="202" y="234"/>
                    <a:pt x="202" y="234"/>
                  </a:cubicBezTo>
                  <a:cubicBezTo>
                    <a:pt x="196" y="234"/>
                    <a:pt x="192" y="230"/>
                    <a:pt x="192" y="224"/>
                  </a:cubicBezTo>
                  <a:cubicBezTo>
                    <a:pt x="192" y="218"/>
                    <a:pt x="196" y="213"/>
                    <a:pt x="202" y="213"/>
                  </a:cubicBezTo>
                  <a:cubicBezTo>
                    <a:pt x="384" y="213"/>
                    <a:pt x="384" y="213"/>
                    <a:pt x="384" y="213"/>
                  </a:cubicBezTo>
                  <a:cubicBezTo>
                    <a:pt x="390" y="213"/>
                    <a:pt x="394" y="218"/>
                    <a:pt x="394" y="224"/>
                  </a:cubicBezTo>
                  <a:cubicBezTo>
                    <a:pt x="394" y="230"/>
                    <a:pt x="390" y="234"/>
                    <a:pt x="384" y="234"/>
                  </a:cubicBezTo>
                  <a:close/>
                  <a:moveTo>
                    <a:pt x="384" y="170"/>
                  </a:moveTo>
                  <a:cubicBezTo>
                    <a:pt x="202" y="170"/>
                    <a:pt x="202" y="170"/>
                    <a:pt x="202" y="170"/>
                  </a:cubicBezTo>
                  <a:cubicBezTo>
                    <a:pt x="196" y="170"/>
                    <a:pt x="192" y="166"/>
                    <a:pt x="192" y="160"/>
                  </a:cubicBezTo>
                  <a:cubicBezTo>
                    <a:pt x="192" y="154"/>
                    <a:pt x="196" y="149"/>
                    <a:pt x="202" y="149"/>
                  </a:cubicBezTo>
                  <a:cubicBezTo>
                    <a:pt x="384" y="149"/>
                    <a:pt x="384" y="149"/>
                    <a:pt x="384" y="149"/>
                  </a:cubicBezTo>
                  <a:cubicBezTo>
                    <a:pt x="390" y="149"/>
                    <a:pt x="394" y="154"/>
                    <a:pt x="394" y="160"/>
                  </a:cubicBezTo>
                  <a:cubicBezTo>
                    <a:pt x="394" y="166"/>
                    <a:pt x="390" y="170"/>
                    <a:pt x="384" y="17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7137862" y="4113679"/>
              <a:ext cx="1645920" cy="7694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000" b="1" dirty="0" smtClean="0">
                  <a:solidFill>
                    <a:schemeClr val="accent1"/>
                  </a:solidFill>
                </a:rPr>
                <a:t>Web Scrapping</a:t>
              </a:r>
              <a:endParaRPr lang="en-US" sz="1000" b="1" dirty="0" smtClean="0">
                <a:solidFill>
                  <a:schemeClr val="accent1"/>
                </a:solidFill>
              </a:endParaRPr>
            </a:p>
            <a:p>
              <a:pPr algn="just"/>
              <a:r>
                <a:rPr lang="en-US" sz="1000" dirty="0" smtClean="0">
                  <a:solidFill>
                    <a:schemeClr val="accent1"/>
                  </a:solidFill>
                </a:rPr>
                <a:t>Information such as web links &amp; documents would be extracted and stored for further processing</a:t>
              </a:r>
              <a:endParaRPr lang="en-US" sz="800" dirty="0">
                <a:solidFill>
                  <a:schemeClr val="accent1"/>
                </a:solidFill>
              </a:endParaRPr>
            </a:p>
          </p:txBody>
        </p:sp>
        <p:cxnSp>
          <p:nvCxnSpPr>
            <p:cNvPr id="35848" name="Straight Arrow Connector 35847"/>
            <p:cNvCxnSpPr/>
            <p:nvPr/>
          </p:nvCxnSpPr>
          <p:spPr>
            <a:xfrm>
              <a:off x="6654281" y="1827161"/>
              <a:ext cx="822960" cy="640080"/>
            </a:xfrm>
            <a:prstGeom prst="straightConnector1">
              <a:avLst/>
            </a:prstGeom>
            <a:ln w="127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tangle 102"/>
            <p:cNvSpPr/>
            <p:nvPr/>
          </p:nvSpPr>
          <p:spPr>
            <a:xfrm>
              <a:off x="5089804" y="5785446"/>
              <a:ext cx="1645920" cy="7694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000" b="1" dirty="0" smtClean="0">
                  <a:solidFill>
                    <a:srgbClr val="43B02A"/>
                  </a:solidFill>
                </a:rPr>
                <a:t>Relevancy Check</a:t>
              </a:r>
              <a:endParaRPr lang="en-US" sz="1000" b="1" dirty="0" smtClean="0">
                <a:solidFill>
                  <a:srgbClr val="43B02A"/>
                </a:solidFill>
              </a:endParaRPr>
            </a:p>
            <a:p>
              <a:pPr algn="just"/>
              <a:r>
                <a:rPr lang="en-US" sz="1000" dirty="0" smtClean="0">
                  <a:solidFill>
                    <a:srgbClr val="43B02A"/>
                  </a:solidFill>
                </a:rPr>
                <a:t>Search results would be verified and ordered basis their relevancy to the query</a:t>
              </a:r>
              <a:endParaRPr lang="en-US" sz="800" dirty="0">
                <a:solidFill>
                  <a:srgbClr val="43B02A"/>
                </a:solidFill>
              </a:endParaRPr>
            </a:p>
          </p:txBody>
        </p:sp>
        <p:cxnSp>
          <p:nvCxnSpPr>
            <p:cNvPr id="35850" name="Straight Arrow Connector 35849"/>
            <p:cNvCxnSpPr/>
            <p:nvPr/>
          </p:nvCxnSpPr>
          <p:spPr>
            <a:xfrm flipH="1">
              <a:off x="6640942" y="3842327"/>
              <a:ext cx="731520" cy="548640"/>
            </a:xfrm>
            <a:prstGeom prst="straightConnector1">
              <a:avLst/>
            </a:prstGeom>
            <a:ln w="127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Freeform 395"/>
            <p:cNvSpPr>
              <a:spLocks noChangeAspect="1" noEditPoints="1"/>
            </p:cNvSpPr>
            <p:nvPr/>
          </p:nvSpPr>
          <p:spPr bwMode="auto">
            <a:xfrm>
              <a:off x="2822798" y="4113679"/>
              <a:ext cx="1508760" cy="1508760"/>
            </a:xfrm>
            <a:custGeom>
              <a:avLst/>
              <a:gdLst>
                <a:gd name="T0" fmla="*/ 245 w 512"/>
                <a:gd name="T1" fmla="*/ 192 h 512"/>
                <a:gd name="T2" fmla="*/ 224 w 512"/>
                <a:gd name="T3" fmla="*/ 213 h 512"/>
                <a:gd name="T4" fmla="*/ 266 w 512"/>
                <a:gd name="T5" fmla="*/ 320 h 512"/>
                <a:gd name="T6" fmla="*/ 288 w 512"/>
                <a:gd name="T7" fmla="*/ 298 h 512"/>
                <a:gd name="T8" fmla="*/ 266 w 512"/>
                <a:gd name="T9" fmla="*/ 320 h 512"/>
                <a:gd name="T10" fmla="*/ 256 w 512"/>
                <a:gd name="T11" fmla="*/ 512 h 512"/>
                <a:gd name="T12" fmla="*/ 256 w 512"/>
                <a:gd name="T13" fmla="*/ 0 h 512"/>
                <a:gd name="T14" fmla="*/ 181 w 512"/>
                <a:gd name="T15" fmla="*/ 181 h 512"/>
                <a:gd name="T16" fmla="*/ 139 w 512"/>
                <a:gd name="T17" fmla="*/ 170 h 512"/>
                <a:gd name="T18" fmla="*/ 181 w 512"/>
                <a:gd name="T19" fmla="*/ 126 h 512"/>
                <a:gd name="T20" fmla="*/ 117 w 512"/>
                <a:gd name="T21" fmla="*/ 181 h 512"/>
                <a:gd name="T22" fmla="*/ 128 w 512"/>
                <a:gd name="T23" fmla="*/ 234 h 512"/>
                <a:gd name="T24" fmla="*/ 181 w 512"/>
                <a:gd name="T25" fmla="*/ 224 h 512"/>
                <a:gd name="T26" fmla="*/ 213 w 512"/>
                <a:gd name="T27" fmla="*/ 234 h 512"/>
                <a:gd name="T28" fmla="*/ 266 w 512"/>
                <a:gd name="T29" fmla="*/ 224 h 512"/>
                <a:gd name="T30" fmla="*/ 256 w 512"/>
                <a:gd name="T31" fmla="*/ 170 h 512"/>
                <a:gd name="T32" fmla="*/ 257 w 512"/>
                <a:gd name="T33" fmla="*/ 138 h 512"/>
                <a:gd name="T34" fmla="*/ 254 w 512"/>
                <a:gd name="T35" fmla="*/ 117 h 512"/>
                <a:gd name="T36" fmla="*/ 202 w 512"/>
                <a:gd name="T37" fmla="*/ 224 h 512"/>
                <a:gd name="T38" fmla="*/ 309 w 512"/>
                <a:gd name="T39" fmla="*/ 288 h 512"/>
                <a:gd name="T40" fmla="*/ 256 w 512"/>
                <a:gd name="T41" fmla="*/ 277 h 512"/>
                <a:gd name="T42" fmla="*/ 245 w 512"/>
                <a:gd name="T43" fmla="*/ 330 h 512"/>
                <a:gd name="T44" fmla="*/ 287 w 512"/>
                <a:gd name="T45" fmla="*/ 341 h 512"/>
                <a:gd name="T46" fmla="*/ 245 w 512"/>
                <a:gd name="T47" fmla="*/ 385 h 512"/>
                <a:gd name="T48" fmla="*/ 257 w 512"/>
                <a:gd name="T49" fmla="*/ 394 h 512"/>
                <a:gd name="T50" fmla="*/ 309 w 512"/>
                <a:gd name="T51" fmla="*/ 288 h 512"/>
                <a:gd name="T52" fmla="*/ 384 w 512"/>
                <a:gd name="T53" fmla="*/ 277 h 512"/>
                <a:gd name="T54" fmla="*/ 330 w 512"/>
                <a:gd name="T55" fmla="*/ 288 h 512"/>
                <a:gd name="T56" fmla="*/ 341 w 512"/>
                <a:gd name="T57" fmla="*/ 341 h 512"/>
                <a:gd name="T58" fmla="*/ 340 w 512"/>
                <a:gd name="T59" fmla="*/ 373 h 512"/>
                <a:gd name="T60" fmla="*/ 341 w 512"/>
                <a:gd name="T61" fmla="*/ 394 h 512"/>
                <a:gd name="T62" fmla="*/ 394 w 512"/>
                <a:gd name="T63" fmla="*/ 330 h 512"/>
                <a:gd name="T64" fmla="*/ 138 w 512"/>
                <a:gd name="T65" fmla="*/ 213 h 512"/>
                <a:gd name="T66" fmla="*/ 160 w 512"/>
                <a:gd name="T67" fmla="*/ 192 h 512"/>
                <a:gd name="T68" fmla="*/ 138 w 512"/>
                <a:gd name="T69" fmla="*/ 213 h 512"/>
                <a:gd name="T70" fmla="*/ 373 w 512"/>
                <a:gd name="T71" fmla="*/ 320 h 512"/>
                <a:gd name="T72" fmla="*/ 352 w 512"/>
                <a:gd name="T73" fmla="*/ 29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24" y="192"/>
                  </a:moveTo>
                  <a:cubicBezTo>
                    <a:pt x="245" y="192"/>
                    <a:pt x="245" y="192"/>
                    <a:pt x="245" y="192"/>
                  </a:cubicBezTo>
                  <a:cubicBezTo>
                    <a:pt x="245" y="213"/>
                    <a:pt x="245" y="213"/>
                    <a:pt x="245" y="213"/>
                  </a:cubicBezTo>
                  <a:cubicBezTo>
                    <a:pt x="224" y="213"/>
                    <a:pt x="224" y="213"/>
                    <a:pt x="224" y="213"/>
                  </a:cubicBezTo>
                  <a:lnTo>
                    <a:pt x="224" y="192"/>
                  </a:lnTo>
                  <a:close/>
                  <a:moveTo>
                    <a:pt x="266" y="320"/>
                  </a:moveTo>
                  <a:cubicBezTo>
                    <a:pt x="288" y="320"/>
                    <a:pt x="288" y="320"/>
                    <a:pt x="288" y="320"/>
                  </a:cubicBezTo>
                  <a:cubicBezTo>
                    <a:pt x="288" y="298"/>
                    <a:pt x="288" y="298"/>
                    <a:pt x="288" y="298"/>
                  </a:cubicBezTo>
                  <a:cubicBezTo>
                    <a:pt x="266" y="298"/>
                    <a:pt x="266" y="298"/>
                    <a:pt x="266" y="298"/>
                  </a:cubicBezTo>
                  <a:lnTo>
                    <a:pt x="266" y="320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181" y="181"/>
                  </a:moveTo>
                  <a:cubicBezTo>
                    <a:pt x="181" y="175"/>
                    <a:pt x="176" y="170"/>
                    <a:pt x="170" y="170"/>
                  </a:cubicBezTo>
                  <a:cubicBezTo>
                    <a:pt x="139" y="170"/>
                    <a:pt x="139" y="170"/>
                    <a:pt x="139" y="170"/>
                  </a:cubicBezTo>
                  <a:cubicBezTo>
                    <a:pt x="144" y="143"/>
                    <a:pt x="168" y="139"/>
                    <a:pt x="172" y="138"/>
                  </a:cubicBezTo>
                  <a:cubicBezTo>
                    <a:pt x="177" y="138"/>
                    <a:pt x="182" y="132"/>
                    <a:pt x="181" y="126"/>
                  </a:cubicBezTo>
                  <a:cubicBezTo>
                    <a:pt x="180" y="121"/>
                    <a:pt x="175" y="117"/>
                    <a:pt x="169" y="117"/>
                  </a:cubicBezTo>
                  <a:cubicBezTo>
                    <a:pt x="151" y="119"/>
                    <a:pt x="117" y="135"/>
                    <a:pt x="117" y="181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170" y="234"/>
                    <a:pt x="170" y="234"/>
                    <a:pt x="170" y="234"/>
                  </a:cubicBezTo>
                  <a:cubicBezTo>
                    <a:pt x="176" y="234"/>
                    <a:pt x="181" y="230"/>
                    <a:pt x="181" y="224"/>
                  </a:cubicBezTo>
                  <a:lnTo>
                    <a:pt x="181" y="181"/>
                  </a:lnTo>
                  <a:close/>
                  <a:moveTo>
                    <a:pt x="213" y="234"/>
                  </a:moveTo>
                  <a:cubicBezTo>
                    <a:pt x="256" y="234"/>
                    <a:pt x="256" y="234"/>
                    <a:pt x="256" y="234"/>
                  </a:cubicBezTo>
                  <a:cubicBezTo>
                    <a:pt x="262" y="234"/>
                    <a:pt x="266" y="230"/>
                    <a:pt x="266" y="224"/>
                  </a:cubicBezTo>
                  <a:cubicBezTo>
                    <a:pt x="266" y="181"/>
                    <a:pt x="266" y="181"/>
                    <a:pt x="266" y="181"/>
                  </a:cubicBezTo>
                  <a:cubicBezTo>
                    <a:pt x="266" y="175"/>
                    <a:pt x="262" y="170"/>
                    <a:pt x="256" y="170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30" y="143"/>
                    <a:pt x="254" y="139"/>
                    <a:pt x="257" y="138"/>
                  </a:cubicBezTo>
                  <a:cubicBezTo>
                    <a:pt x="263" y="138"/>
                    <a:pt x="267" y="132"/>
                    <a:pt x="266" y="126"/>
                  </a:cubicBezTo>
                  <a:cubicBezTo>
                    <a:pt x="266" y="121"/>
                    <a:pt x="260" y="117"/>
                    <a:pt x="254" y="117"/>
                  </a:cubicBezTo>
                  <a:cubicBezTo>
                    <a:pt x="236" y="119"/>
                    <a:pt x="202" y="135"/>
                    <a:pt x="202" y="181"/>
                  </a:cubicBezTo>
                  <a:cubicBezTo>
                    <a:pt x="202" y="224"/>
                    <a:pt x="202" y="224"/>
                    <a:pt x="202" y="224"/>
                  </a:cubicBezTo>
                  <a:cubicBezTo>
                    <a:pt x="202" y="230"/>
                    <a:pt x="207" y="234"/>
                    <a:pt x="213" y="234"/>
                  </a:cubicBezTo>
                  <a:close/>
                  <a:moveTo>
                    <a:pt x="309" y="288"/>
                  </a:moveTo>
                  <a:cubicBezTo>
                    <a:pt x="309" y="282"/>
                    <a:pt x="304" y="277"/>
                    <a:pt x="298" y="277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250" y="277"/>
                    <a:pt x="245" y="282"/>
                    <a:pt x="245" y="288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336"/>
                    <a:pt x="250" y="341"/>
                    <a:pt x="256" y="341"/>
                  </a:cubicBezTo>
                  <a:cubicBezTo>
                    <a:pt x="287" y="341"/>
                    <a:pt x="287" y="341"/>
                    <a:pt x="287" y="341"/>
                  </a:cubicBezTo>
                  <a:cubicBezTo>
                    <a:pt x="282" y="369"/>
                    <a:pt x="258" y="373"/>
                    <a:pt x="254" y="373"/>
                  </a:cubicBezTo>
                  <a:cubicBezTo>
                    <a:pt x="249" y="374"/>
                    <a:pt x="244" y="379"/>
                    <a:pt x="245" y="385"/>
                  </a:cubicBezTo>
                  <a:cubicBezTo>
                    <a:pt x="246" y="390"/>
                    <a:pt x="250" y="394"/>
                    <a:pt x="256" y="394"/>
                  </a:cubicBezTo>
                  <a:cubicBezTo>
                    <a:pt x="256" y="394"/>
                    <a:pt x="256" y="394"/>
                    <a:pt x="257" y="394"/>
                  </a:cubicBezTo>
                  <a:cubicBezTo>
                    <a:pt x="275" y="392"/>
                    <a:pt x="309" y="376"/>
                    <a:pt x="309" y="330"/>
                  </a:cubicBezTo>
                  <a:lnTo>
                    <a:pt x="309" y="28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341" y="277"/>
                    <a:pt x="341" y="277"/>
                    <a:pt x="341" y="277"/>
                  </a:cubicBezTo>
                  <a:cubicBezTo>
                    <a:pt x="335" y="277"/>
                    <a:pt x="330" y="282"/>
                    <a:pt x="330" y="288"/>
                  </a:cubicBezTo>
                  <a:cubicBezTo>
                    <a:pt x="330" y="330"/>
                    <a:pt x="330" y="330"/>
                    <a:pt x="330" y="330"/>
                  </a:cubicBezTo>
                  <a:cubicBezTo>
                    <a:pt x="330" y="336"/>
                    <a:pt x="335" y="341"/>
                    <a:pt x="341" y="341"/>
                  </a:cubicBezTo>
                  <a:cubicBezTo>
                    <a:pt x="372" y="341"/>
                    <a:pt x="372" y="341"/>
                    <a:pt x="372" y="341"/>
                  </a:cubicBezTo>
                  <a:cubicBezTo>
                    <a:pt x="367" y="369"/>
                    <a:pt x="343" y="373"/>
                    <a:pt x="340" y="373"/>
                  </a:cubicBezTo>
                  <a:cubicBezTo>
                    <a:pt x="334" y="374"/>
                    <a:pt x="330" y="379"/>
                    <a:pt x="330" y="385"/>
                  </a:cubicBezTo>
                  <a:cubicBezTo>
                    <a:pt x="331" y="390"/>
                    <a:pt x="336" y="394"/>
                    <a:pt x="341" y="394"/>
                  </a:cubicBezTo>
                  <a:cubicBezTo>
                    <a:pt x="341" y="394"/>
                    <a:pt x="342" y="394"/>
                    <a:pt x="342" y="394"/>
                  </a:cubicBezTo>
                  <a:cubicBezTo>
                    <a:pt x="360" y="392"/>
                    <a:pt x="394" y="376"/>
                    <a:pt x="394" y="330"/>
                  </a:cubicBezTo>
                  <a:lnTo>
                    <a:pt x="394" y="288"/>
                  </a:lnTo>
                  <a:close/>
                  <a:moveTo>
                    <a:pt x="138" y="213"/>
                  </a:moveTo>
                  <a:cubicBezTo>
                    <a:pt x="160" y="213"/>
                    <a:pt x="160" y="213"/>
                    <a:pt x="160" y="213"/>
                  </a:cubicBezTo>
                  <a:cubicBezTo>
                    <a:pt x="160" y="192"/>
                    <a:pt x="160" y="192"/>
                    <a:pt x="160" y="192"/>
                  </a:cubicBezTo>
                  <a:cubicBezTo>
                    <a:pt x="138" y="192"/>
                    <a:pt x="138" y="192"/>
                    <a:pt x="138" y="192"/>
                  </a:cubicBezTo>
                  <a:lnTo>
                    <a:pt x="138" y="213"/>
                  </a:lnTo>
                  <a:close/>
                  <a:moveTo>
                    <a:pt x="352" y="320"/>
                  </a:moveTo>
                  <a:cubicBezTo>
                    <a:pt x="373" y="320"/>
                    <a:pt x="373" y="320"/>
                    <a:pt x="373" y="320"/>
                  </a:cubicBezTo>
                  <a:cubicBezTo>
                    <a:pt x="373" y="298"/>
                    <a:pt x="373" y="298"/>
                    <a:pt x="373" y="298"/>
                  </a:cubicBezTo>
                  <a:cubicBezTo>
                    <a:pt x="352" y="298"/>
                    <a:pt x="352" y="298"/>
                    <a:pt x="352" y="298"/>
                  </a:cubicBezTo>
                  <a:lnTo>
                    <a:pt x="352" y="32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cxnSp>
          <p:nvCxnSpPr>
            <p:cNvPr id="35852" name="Straight Arrow Connector 35851"/>
            <p:cNvCxnSpPr/>
            <p:nvPr/>
          </p:nvCxnSpPr>
          <p:spPr>
            <a:xfrm flipH="1">
              <a:off x="4423918" y="4852005"/>
              <a:ext cx="640080" cy="0"/>
            </a:xfrm>
            <a:prstGeom prst="straightConnector1">
              <a:avLst/>
            </a:prstGeom>
            <a:ln w="127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Rectangle 108"/>
            <p:cNvSpPr/>
            <p:nvPr/>
          </p:nvSpPr>
          <p:spPr>
            <a:xfrm>
              <a:off x="2768762" y="5782255"/>
              <a:ext cx="1645920" cy="7694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000" b="1" dirty="0" smtClean="0">
                  <a:solidFill>
                    <a:schemeClr val="accent2"/>
                  </a:solidFill>
                </a:rPr>
                <a:t>Summarization</a:t>
              </a:r>
              <a:endParaRPr lang="en-US" sz="1000" b="1" dirty="0" smtClean="0">
                <a:solidFill>
                  <a:schemeClr val="accent2"/>
                </a:solidFill>
              </a:endParaRPr>
            </a:p>
            <a:p>
              <a:pPr algn="just"/>
              <a:r>
                <a:rPr lang="en-US" sz="1000" dirty="0" smtClean="0">
                  <a:solidFill>
                    <a:schemeClr val="accent2"/>
                  </a:solidFill>
                </a:rPr>
                <a:t>Relevant information would be extracted and summarized in order to answer the user query</a:t>
              </a:r>
              <a:endParaRPr lang="en-US" sz="800" dirty="0">
                <a:solidFill>
                  <a:schemeClr val="accent2"/>
                </a:solidFill>
              </a:endParaRPr>
            </a:p>
          </p:txBody>
        </p:sp>
        <p:cxnSp>
          <p:nvCxnSpPr>
            <p:cNvPr id="35854" name="Straight Arrow Connector 35853"/>
            <p:cNvCxnSpPr/>
            <p:nvPr/>
          </p:nvCxnSpPr>
          <p:spPr>
            <a:xfrm flipH="1" flipV="1">
              <a:off x="1911927" y="3842324"/>
              <a:ext cx="822960" cy="731520"/>
            </a:xfrm>
            <a:prstGeom prst="straightConnector1">
              <a:avLst/>
            </a:prstGeom>
            <a:ln w="127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56" name="TextBox 35855"/>
            <p:cNvSpPr txBox="1"/>
            <p:nvPr/>
          </p:nvSpPr>
          <p:spPr>
            <a:xfrm>
              <a:off x="1950499" y="748149"/>
              <a:ext cx="848123" cy="55912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1100" b="1" dirty="0" smtClean="0"/>
                <a:t>  - </a:t>
              </a:r>
              <a:r>
                <a:rPr lang="en-US" sz="1100" dirty="0" smtClean="0"/>
                <a:t>api.ai</a:t>
              </a:r>
            </a:p>
            <a:p>
              <a:pPr>
                <a:spcBef>
                  <a:spcPts val="200"/>
                </a:spcBef>
                <a:buSzPct val="100000"/>
              </a:pPr>
              <a:r>
                <a:rPr lang="en-US" sz="1100" dirty="0" smtClean="0"/>
                <a:t>  - wit.ai</a:t>
              </a:r>
            </a:p>
            <a:p>
              <a:pPr>
                <a:spcBef>
                  <a:spcPts val="200"/>
                </a:spcBef>
                <a:buSzPct val="100000"/>
              </a:pPr>
              <a:r>
                <a:rPr lang="en-US" sz="1100" dirty="0"/>
                <a:t> </a:t>
              </a:r>
              <a:r>
                <a:rPr lang="en-US" sz="1100" dirty="0" smtClean="0"/>
                <a:t> - LUIS</a:t>
              </a:r>
              <a:endParaRPr lang="en-US" sz="1100" dirty="0" smtClean="0"/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7628484" y="1630545"/>
              <a:ext cx="1397972" cy="754053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1100" b="1" dirty="0" smtClean="0"/>
                <a:t>  - </a:t>
              </a:r>
              <a:r>
                <a:rPr lang="en-US" sz="1100" dirty="0" smtClean="0"/>
                <a:t>Python</a:t>
              </a:r>
            </a:p>
            <a:p>
              <a:pPr>
                <a:spcBef>
                  <a:spcPts val="200"/>
                </a:spcBef>
                <a:buSzPct val="100000"/>
              </a:pPr>
              <a:r>
                <a:rPr lang="en-US" sz="1100" dirty="0" smtClean="0"/>
                <a:t>  - beautifulsoup4</a:t>
              </a:r>
            </a:p>
            <a:p>
              <a:pPr>
                <a:spcBef>
                  <a:spcPts val="200"/>
                </a:spcBef>
                <a:buSzPct val="100000"/>
              </a:pPr>
              <a:r>
                <a:rPr lang="en-US" sz="1100" dirty="0"/>
                <a:t> </a:t>
              </a:r>
              <a:r>
                <a:rPr lang="en-US" sz="1100" dirty="0" smtClean="0"/>
                <a:t> - XML Parsing</a:t>
              </a:r>
            </a:p>
            <a:p>
              <a:pPr>
                <a:spcBef>
                  <a:spcPts val="200"/>
                </a:spcBef>
                <a:buSzPct val="100000"/>
              </a:pPr>
              <a:r>
                <a:rPr lang="en-US" sz="1100" dirty="0"/>
                <a:t> </a:t>
              </a:r>
              <a:r>
                <a:rPr lang="en-US" sz="1100" dirty="0" smtClean="0"/>
                <a:t> - </a:t>
              </a:r>
              <a:r>
                <a:rPr lang="en-US" sz="1100" dirty="0" err="1" smtClean="0"/>
                <a:t>Scrapy</a:t>
              </a:r>
              <a:endParaRPr lang="en-US" sz="1100" dirty="0" smtClean="0"/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6680306" y="5258237"/>
              <a:ext cx="1474275" cy="36420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1100" b="1" dirty="0" smtClean="0"/>
                <a:t>  - </a:t>
              </a:r>
              <a:r>
                <a:rPr lang="en-US" sz="1100" dirty="0" smtClean="0"/>
                <a:t>Machine Learning</a:t>
              </a:r>
            </a:p>
            <a:p>
              <a:pPr>
                <a:spcBef>
                  <a:spcPts val="200"/>
                </a:spcBef>
                <a:buSzPct val="100000"/>
              </a:pPr>
              <a:r>
                <a:rPr lang="en-US" sz="1100" dirty="0" smtClean="0"/>
                <a:t>  - Deep Learning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446137" y="5375686"/>
              <a:ext cx="1474275" cy="36420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1100" b="1" dirty="0" smtClean="0"/>
                <a:t>  - </a:t>
              </a:r>
              <a:r>
                <a:rPr lang="en-US" sz="1100" dirty="0" smtClean="0"/>
                <a:t>Deep Learning</a:t>
              </a:r>
            </a:p>
            <a:p>
              <a:pPr>
                <a:spcBef>
                  <a:spcPts val="200"/>
                </a:spcBef>
                <a:buSzPct val="100000"/>
              </a:pPr>
              <a:r>
                <a:rPr lang="en-US" sz="1100" dirty="0" smtClean="0"/>
                <a:t>  - NLP/NLG</a:t>
              </a: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6616755" y="789762"/>
              <a:ext cx="848123" cy="36420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1100" b="1" dirty="0" smtClean="0"/>
                <a:t>  - </a:t>
              </a:r>
              <a:r>
                <a:rPr lang="en-US" sz="1100" dirty="0" smtClean="0"/>
                <a:t>Python</a:t>
              </a:r>
            </a:p>
            <a:p>
              <a:pPr>
                <a:spcBef>
                  <a:spcPts val="200"/>
                </a:spcBef>
                <a:buSzPct val="100000"/>
              </a:pPr>
              <a:r>
                <a:rPr lang="en-US" sz="1100" dirty="0" smtClean="0"/>
                <a:t>  - urllib2</a:t>
              </a:r>
              <a:endParaRPr lang="en-US" sz="1100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12348582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F6B0E21-F0C7-458B-B569-6B59F6183DA3}" vid="{C0BD0AB8-8238-4C0C-B83B-DB255822CF8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Timesaver_US</Template>
  <TotalTime>157</TotalTime>
  <Words>154</Words>
  <Application>Microsoft Office PowerPoint</Application>
  <PresentationFormat>On-screen Show (4:3)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Open Sans</vt:lpstr>
      <vt:lpstr>Verdana</vt:lpstr>
      <vt:lpstr>Deloitte 16_9 onscreen</vt:lpstr>
      <vt:lpstr>think-cell Slide</vt:lpstr>
      <vt:lpstr>Cog-Ex Use Case: Process Flow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ora, Ankur</dc:creator>
  <cp:lastModifiedBy>Arora, Ankur</cp:lastModifiedBy>
  <cp:revision>68</cp:revision>
  <cp:lastPrinted>2014-06-25T02:16:22Z</cp:lastPrinted>
  <dcterms:created xsi:type="dcterms:W3CDTF">2017-06-15T06:49:59Z</dcterms:created>
  <dcterms:modified xsi:type="dcterms:W3CDTF">2017-06-15T09:27:09Z</dcterms:modified>
</cp:coreProperties>
</file>